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31"/>
  </p:notesMasterIdLst>
  <p:sldIdLst>
    <p:sldId id="307" r:id="rId3"/>
    <p:sldId id="308" r:id="rId4"/>
    <p:sldId id="332" r:id="rId5"/>
    <p:sldId id="258" r:id="rId6"/>
    <p:sldId id="321" r:id="rId7"/>
    <p:sldId id="301" r:id="rId8"/>
    <p:sldId id="327" r:id="rId9"/>
    <p:sldId id="275" r:id="rId10"/>
    <p:sldId id="306" r:id="rId11"/>
    <p:sldId id="328" r:id="rId12"/>
    <p:sldId id="320" r:id="rId13"/>
    <p:sldId id="330" r:id="rId14"/>
    <p:sldId id="331" r:id="rId15"/>
    <p:sldId id="337" r:id="rId16"/>
    <p:sldId id="338" r:id="rId17"/>
    <p:sldId id="339" r:id="rId18"/>
    <p:sldId id="267" r:id="rId19"/>
    <p:sldId id="336" r:id="rId20"/>
    <p:sldId id="335" r:id="rId21"/>
    <p:sldId id="340" r:id="rId22"/>
    <p:sldId id="341" r:id="rId23"/>
    <p:sldId id="309" r:id="rId24"/>
    <p:sldId id="342" r:id="rId25"/>
    <p:sldId id="322" r:id="rId26"/>
    <p:sldId id="323" r:id="rId27"/>
    <p:sldId id="329" r:id="rId28"/>
    <p:sldId id="325" r:id="rId29"/>
    <p:sldId id="318" r:id="rId3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lhotra, Simran" initials="MS" lastIdx="1" clrIdx="0">
    <p:extLst>
      <p:ext uri="{19B8F6BF-5375-455C-9EA6-DF929625EA0E}">
        <p15:presenceInfo xmlns:p15="http://schemas.microsoft.com/office/powerpoint/2012/main" userId="S-1-5-21-1531082355-734649621-3782574898-319993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09" autoAdjust="0"/>
    <p:restoredTop sz="94434" autoAdjust="0"/>
  </p:normalViewPr>
  <p:slideViewPr>
    <p:cSldViewPr>
      <p:cViewPr>
        <p:scale>
          <a:sx n="75" d="100"/>
          <a:sy n="75" d="100"/>
        </p:scale>
        <p:origin x="1224" y="5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9198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 custT="1"/>
      <dgm:spPr/>
      <dgm:t>
        <a:bodyPr/>
        <a:lstStyle/>
        <a:p>
          <a:r>
            <a:rPr lang="en-IN" sz="1800" dirty="0" smtClean="0"/>
            <a:t>Admin</a:t>
          </a:r>
          <a:endParaRPr lang="en-IN" sz="1800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BD9EE668-1606-4F7E-A7BD-8FEDCB65A7D4}">
      <dgm:prSet phldrT="[Text]"/>
      <dgm:spPr/>
      <dgm:t>
        <a:bodyPr/>
        <a:lstStyle/>
        <a:p>
          <a:r>
            <a:rPr lang="en-IN" dirty="0" smtClean="0"/>
            <a:t>Modifying an asset</a:t>
          </a:r>
          <a:endParaRPr lang="en-IN" dirty="0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 custT="1"/>
      <dgm:spPr/>
      <dgm:t>
        <a:bodyPr/>
        <a:lstStyle/>
        <a:p>
          <a:r>
            <a:rPr lang="en-IN" sz="1100" dirty="0" smtClean="0"/>
            <a:t>Adding an </a:t>
          </a:r>
          <a:r>
            <a:rPr lang="en-IN" sz="1200" dirty="0" smtClean="0"/>
            <a:t>asset</a:t>
          </a:r>
          <a:endParaRPr lang="en-IN" sz="1100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C84695D3-AE9A-4501-A621-669274CEC8DD}">
      <dgm:prSet phldrT="[Text]"/>
      <dgm:spPr/>
      <dgm:t>
        <a:bodyPr/>
        <a:lstStyle/>
        <a:p>
          <a:r>
            <a:rPr lang="en-IN" dirty="0" smtClean="0"/>
            <a:t>Deleting an asset</a:t>
          </a:r>
          <a:endParaRPr lang="en-IN" dirty="0"/>
        </a:p>
      </dgm:t>
    </dgm:pt>
    <dgm:pt modelId="{D9E2EB92-0DA5-4648-A69C-26B82C1D0905}" type="parTrans" cxnId="{72E41019-23BD-42FC-BD37-03E9662C2428}">
      <dgm:prSet/>
      <dgm:spPr/>
      <dgm:t>
        <a:bodyPr/>
        <a:lstStyle/>
        <a:p>
          <a:endParaRPr lang="en-IN"/>
        </a:p>
      </dgm:t>
    </dgm:pt>
    <dgm:pt modelId="{75687ADF-CBCC-429E-B8E9-43F016C33414}" type="sibTrans" cxnId="{72E41019-23BD-42FC-BD37-03E9662C2428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374760DF-DB23-4CA2-8759-86847150A20D}">
      <dgm:prSet phldrT="[Text]" custT="1"/>
      <dgm:spPr/>
      <dgm:t>
        <a:bodyPr/>
        <a:lstStyle/>
        <a:p>
          <a:r>
            <a:rPr lang="en-IN" sz="1200" dirty="0" smtClean="0"/>
            <a:t>Approve</a:t>
          </a:r>
          <a:r>
            <a:rPr lang="en-IN" sz="1100" dirty="0" smtClean="0"/>
            <a:t> request</a:t>
          </a:r>
          <a:endParaRPr lang="en-IN" sz="1100" dirty="0"/>
        </a:p>
      </dgm:t>
    </dgm:pt>
    <dgm:pt modelId="{82F82485-D9D4-4AC9-A44B-051857860A87}" type="parTrans" cxnId="{F92A70C9-E938-482F-9FD4-AB714F773723}">
      <dgm:prSet/>
      <dgm:spPr/>
      <dgm:t>
        <a:bodyPr/>
        <a:lstStyle/>
        <a:p>
          <a:endParaRPr lang="en-US"/>
        </a:p>
      </dgm:t>
    </dgm:pt>
    <dgm:pt modelId="{B3AB6E22-FF71-41B9-8C91-C9A7C776B80E}" type="sibTrans" cxnId="{F92A70C9-E938-482F-9FD4-AB714F773723}">
      <dgm:prSet/>
      <dgm:spPr/>
      <dgm:t>
        <a:bodyPr/>
        <a:lstStyle/>
        <a:p>
          <a:endParaRPr lang="en-US"/>
        </a:p>
      </dgm:t>
    </dgm:pt>
    <dgm:pt modelId="{3B08572E-9862-4237-9F3F-86C83D0BEDC5}">
      <dgm:prSet custT="1"/>
      <dgm:spPr/>
      <dgm:t>
        <a:bodyPr/>
        <a:lstStyle/>
        <a:p>
          <a:r>
            <a:rPr lang="en-IN" sz="1100" dirty="0" smtClean="0"/>
            <a:t>View </a:t>
          </a:r>
          <a:r>
            <a:rPr lang="en-IN" sz="1200" dirty="0" smtClean="0"/>
            <a:t>request</a:t>
          </a:r>
          <a:r>
            <a:rPr lang="en-IN" sz="1100" dirty="0" smtClean="0"/>
            <a:t/>
          </a:r>
          <a:br>
            <a:rPr lang="en-IN" sz="1100" dirty="0" smtClean="0"/>
          </a:br>
          <a:endParaRPr lang="en-IN" sz="1100" dirty="0"/>
        </a:p>
      </dgm:t>
    </dgm:pt>
    <dgm:pt modelId="{F0549BE2-1893-4B3C-A005-E37457321C21}" type="parTrans" cxnId="{C6C019A3-531F-4D07-9475-C40EBBAD6AB2}">
      <dgm:prSet/>
      <dgm:spPr/>
      <dgm:t>
        <a:bodyPr/>
        <a:lstStyle/>
        <a:p>
          <a:endParaRPr lang="en-US"/>
        </a:p>
      </dgm:t>
    </dgm:pt>
    <dgm:pt modelId="{674BE478-BAFB-470B-8A15-696015E6583A}" type="sibTrans" cxnId="{C6C019A3-531F-4D07-9475-C40EBBAD6AB2}">
      <dgm:prSet/>
      <dgm:spPr/>
      <dgm:t>
        <a:bodyPr/>
        <a:lstStyle/>
        <a:p>
          <a:endParaRPr lang="en-US"/>
        </a:p>
      </dgm:t>
    </dgm:pt>
    <dgm:pt modelId="{D09494B5-FEF6-4D45-A6C8-87753C1BF1B1}">
      <dgm:prSet phldrT="[Text]" custRadScaleRad="100713" custRadScaleInc="57821"/>
      <dgm:spPr/>
      <dgm:t>
        <a:bodyPr/>
        <a:lstStyle/>
        <a:p>
          <a:endParaRPr lang="en-US"/>
        </a:p>
      </dgm:t>
    </dgm:pt>
    <dgm:pt modelId="{5E8D98D4-F791-40DF-90B4-E2CCAD548EC2}" type="parTrans" cxnId="{728307F1-EC5C-4D67-B4ED-EABADD05F659}">
      <dgm:prSet/>
      <dgm:spPr/>
      <dgm:t>
        <a:bodyPr/>
        <a:lstStyle/>
        <a:p>
          <a:endParaRPr lang="en-US"/>
        </a:p>
      </dgm:t>
    </dgm:pt>
    <dgm:pt modelId="{E5F64176-06BC-445E-87AB-3079771A81CD}" type="sibTrans" cxnId="{728307F1-EC5C-4D67-B4ED-EABADD05F659}">
      <dgm:prSet/>
      <dgm:spPr/>
      <dgm:t>
        <a:bodyPr/>
        <a:lstStyle/>
        <a:p>
          <a:endParaRPr lang="en-US"/>
        </a:p>
      </dgm:t>
    </dgm:pt>
    <dgm:pt modelId="{6CD26447-569C-42A2-8E6E-7D3B5F72A63F}">
      <dgm:prSet custT="1"/>
      <dgm:spPr/>
      <dgm:t>
        <a:bodyPr/>
        <a:lstStyle/>
        <a:p>
          <a:r>
            <a:rPr lang="en-IN" sz="1200" dirty="0" smtClean="0"/>
            <a:t>Delete request</a:t>
          </a:r>
          <a:endParaRPr lang="en-IN" sz="1200" dirty="0"/>
        </a:p>
      </dgm:t>
    </dgm:pt>
    <dgm:pt modelId="{B5A74B7B-5236-4A76-83F3-131B255BDC29}" type="parTrans" cxnId="{1CEB6FDD-8B7C-44ED-89C9-D16F2B629E44}">
      <dgm:prSet/>
      <dgm:spPr/>
      <dgm:t>
        <a:bodyPr/>
        <a:lstStyle/>
        <a:p>
          <a:endParaRPr lang="en-US"/>
        </a:p>
      </dgm:t>
    </dgm:pt>
    <dgm:pt modelId="{BC931DE7-AE0A-44DB-B78A-01C0DEAFFBA7}" type="sibTrans" cxnId="{1CEB6FDD-8B7C-44ED-89C9-D16F2B629E44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LinFactNeighborX="2655" custLinFactNeighborY="-71522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6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6" custRadScaleRad="98823" custRadScaleInc="7506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6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6" custRadScaleRad="141521" custRadScaleInc="12674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8351C695-285C-48C7-B152-A664EB02542B}" type="pres">
      <dgm:prSet presAssocID="{D9E2EB92-0DA5-4648-A69C-26B82C1D0905}" presName="parTrans" presStyleLbl="bgSibTrans2D1" presStyleIdx="2" presStyleCnt="6"/>
      <dgm:spPr/>
      <dgm:t>
        <a:bodyPr/>
        <a:lstStyle/>
        <a:p>
          <a:endParaRPr lang="en-US"/>
        </a:p>
      </dgm:t>
    </dgm:pt>
    <dgm:pt modelId="{070E8865-E939-402B-ACC1-7E492C9F957C}" type="pres">
      <dgm:prSet presAssocID="{C84695D3-AE9A-4501-A621-669274CEC8DD}" presName="node" presStyleLbl="node1" presStyleIdx="2" presStyleCnt="6" custRadScaleRad="47042" custRadScaleInc="-28262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2828057-5F65-4707-A76C-46A6588FAB93}" type="pres">
      <dgm:prSet presAssocID="{82F82485-D9D4-4AC9-A44B-051857860A87}" presName="parTrans" presStyleLbl="bgSibTrans2D1" presStyleIdx="3" presStyleCnt="6"/>
      <dgm:spPr/>
      <dgm:t>
        <a:bodyPr/>
        <a:lstStyle/>
        <a:p>
          <a:endParaRPr lang="en-US"/>
        </a:p>
      </dgm:t>
    </dgm:pt>
    <dgm:pt modelId="{36349CBE-CB7C-48FD-83C3-D60F2DB8658D}" type="pres">
      <dgm:prSet presAssocID="{374760DF-DB23-4CA2-8759-86847150A20D}" presName="node" presStyleLbl="node1" presStyleIdx="3" presStyleCnt="6" custRadScaleRad="81230" custRadScaleInc="27402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B4D99F5-8EB6-4D63-9E7E-33104683C900}" type="pres">
      <dgm:prSet presAssocID="{F0549BE2-1893-4B3C-A005-E37457321C21}" presName="parTrans" presStyleLbl="bgSibTrans2D1" presStyleIdx="4" presStyleCnt="6"/>
      <dgm:spPr/>
      <dgm:t>
        <a:bodyPr/>
        <a:lstStyle/>
        <a:p>
          <a:endParaRPr lang="en-US"/>
        </a:p>
      </dgm:t>
    </dgm:pt>
    <dgm:pt modelId="{36620F52-F392-4ECF-A78A-2AE4CA2CE548}" type="pres">
      <dgm:prSet presAssocID="{3B08572E-9862-4237-9F3F-86C83D0BEDC5}" presName="node" presStyleLbl="node1" presStyleIdx="4" presStyleCnt="6" custRadScaleRad="21479" custRadScaleInc="21665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5EF60D5-D22F-4D11-9496-0597475F9D01}" type="pres">
      <dgm:prSet presAssocID="{B5A74B7B-5236-4A76-83F3-131B255BDC29}" presName="parTrans" presStyleLbl="bgSibTrans2D1" presStyleIdx="5" presStyleCnt="6"/>
      <dgm:spPr/>
      <dgm:t>
        <a:bodyPr/>
        <a:lstStyle/>
        <a:p>
          <a:endParaRPr lang="en-US"/>
        </a:p>
      </dgm:t>
    </dgm:pt>
    <dgm:pt modelId="{29DD35B8-6E0D-4F78-98AB-E60991CD1879}" type="pres">
      <dgm:prSet presAssocID="{6CD26447-569C-42A2-8E6E-7D3B5F72A63F}" presName="node" presStyleLbl="node1" presStyleIdx="5" presStyleCnt="6" custRadScaleRad="100777" custRadScaleInc="-10037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EC22962-EC8F-4928-B2AA-2734628AFE8D}" type="presOf" srcId="{05DB67F3-24D5-493F-B8D6-D9EFCA9C33FA}" destId="{BC821710-D8D6-44B3-AE70-1FB80AE0FF86}" srcOrd="0" destOrd="0" presId="urn:microsoft.com/office/officeart/2005/8/layout/radial4"/>
    <dgm:cxn modelId="{B9A49402-5DEF-4DEC-893D-298D171DDD76}" type="presOf" srcId="{27810326-169A-46D3-BDD9-A7895E48CE8E}" destId="{6C299B1E-FF91-4041-B597-AC7D7E336DDB}" srcOrd="0" destOrd="0" presId="urn:microsoft.com/office/officeart/2005/8/layout/radial4"/>
    <dgm:cxn modelId="{925DCAA9-FF2A-4B96-84FA-DD9EDD8938C8}" type="presOf" srcId="{C84695D3-AE9A-4501-A621-669274CEC8DD}" destId="{070E8865-E939-402B-ACC1-7E492C9F957C}" srcOrd="0" destOrd="0" presId="urn:microsoft.com/office/officeart/2005/8/layout/radial4"/>
    <dgm:cxn modelId="{F92A70C9-E938-482F-9FD4-AB714F773723}" srcId="{5A7729A2-75B9-4FBC-8844-90F76B1D8C7E}" destId="{374760DF-DB23-4CA2-8759-86847150A20D}" srcOrd="3" destOrd="0" parTransId="{82F82485-D9D4-4AC9-A44B-051857860A87}" sibTransId="{B3AB6E22-FF71-41B9-8C91-C9A7C776B80E}"/>
    <dgm:cxn modelId="{C8FE8C33-F053-4F72-A679-865A20ADC25A}" srcId="{A1BA4038-8694-4208-86E4-E637D37487CE}" destId="{1519598A-C7D9-41F3-AD4D-D2A98F8597F0}" srcOrd="1" destOrd="0" parTransId="{490C96F4-303B-442C-AFC2-3E90B07DFEFA}" sibTransId="{F8FB0056-87E2-4E3C-A2A0-79295F437154}"/>
    <dgm:cxn modelId="{1B71C62A-5BA4-4DF0-BA63-82396C99FF91}" type="presOf" srcId="{3B08572E-9862-4237-9F3F-86C83D0BEDC5}" destId="{36620F52-F392-4ECF-A78A-2AE4CA2CE548}" srcOrd="0" destOrd="0" presId="urn:microsoft.com/office/officeart/2005/8/layout/radial4"/>
    <dgm:cxn modelId="{728307F1-EC5C-4D67-B4ED-EABADD05F659}" srcId="{A1BA4038-8694-4208-86E4-E637D37487CE}" destId="{D09494B5-FEF6-4D45-A6C8-87753C1BF1B1}" srcOrd="2" destOrd="0" parTransId="{5E8D98D4-F791-40DF-90B4-E2CCAD548EC2}" sibTransId="{E5F64176-06BC-445E-87AB-3079771A81CD}"/>
    <dgm:cxn modelId="{41F88A75-6E9E-4FDE-96F1-CBCB7D3029DF}" type="presOf" srcId="{5A7729A2-75B9-4FBC-8844-90F76B1D8C7E}" destId="{2A0F7F32-F42D-45CF-99FD-97CF4F1B69CF}" srcOrd="0" destOrd="0" presId="urn:microsoft.com/office/officeart/2005/8/layout/radial4"/>
    <dgm:cxn modelId="{52D547DD-E012-43C9-B790-71281BBA3157}" type="presOf" srcId="{D9E2EB92-0DA5-4648-A69C-26B82C1D0905}" destId="{8351C695-285C-48C7-B152-A664EB02542B}" srcOrd="0" destOrd="0" presId="urn:microsoft.com/office/officeart/2005/8/layout/radial4"/>
    <dgm:cxn modelId="{0048E817-F188-4456-A22D-C9FB59D3F8BD}" type="presOf" srcId="{A1BA4038-8694-4208-86E4-E637D37487CE}" destId="{F529A9FE-3A30-478D-8FB5-0EE20CF3B2CD}" srcOrd="0" destOrd="0" presId="urn:microsoft.com/office/officeart/2005/8/layout/radial4"/>
    <dgm:cxn modelId="{5A7235AF-C345-498D-8CCA-AE909386A018}" type="presOf" srcId="{F0549BE2-1893-4B3C-A005-E37457321C21}" destId="{4B4D99F5-8EB6-4D63-9E7E-33104683C900}" srcOrd="0" destOrd="0" presId="urn:microsoft.com/office/officeart/2005/8/layout/radial4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89DC752C-7FFF-475D-BB17-F9BCB4582068}" type="presOf" srcId="{374760DF-DB23-4CA2-8759-86847150A20D}" destId="{36349CBE-CB7C-48FD-83C3-D60F2DB8658D}" srcOrd="0" destOrd="0" presId="urn:microsoft.com/office/officeart/2005/8/layout/radial4"/>
    <dgm:cxn modelId="{4FBE72A9-F605-42C4-961F-1DB19EC3BAD0}" type="presOf" srcId="{D0C8E95D-CA20-4230-90CD-01C12FD442EB}" destId="{3BC5D919-0D36-4BCD-8CBA-4FD7223A2EAB}" srcOrd="0" destOrd="0" presId="urn:microsoft.com/office/officeart/2005/8/layout/radial4"/>
    <dgm:cxn modelId="{1CEB6FDD-8B7C-44ED-89C9-D16F2B629E44}" srcId="{5A7729A2-75B9-4FBC-8844-90F76B1D8C7E}" destId="{6CD26447-569C-42A2-8E6E-7D3B5F72A63F}" srcOrd="5" destOrd="0" parTransId="{B5A74B7B-5236-4A76-83F3-131B255BDC29}" sibTransId="{BC931DE7-AE0A-44DB-B78A-01C0DEAFFBA7}"/>
    <dgm:cxn modelId="{C6C019A3-531F-4D07-9475-C40EBBAD6AB2}" srcId="{5A7729A2-75B9-4FBC-8844-90F76B1D8C7E}" destId="{3B08572E-9862-4237-9F3F-86C83D0BEDC5}" srcOrd="4" destOrd="0" parTransId="{F0549BE2-1893-4B3C-A005-E37457321C21}" sibTransId="{674BE478-BAFB-470B-8A15-696015E6583A}"/>
    <dgm:cxn modelId="{BA0019BF-A11F-47D7-99AF-E0567033EC26}" type="presOf" srcId="{B5A74B7B-5236-4A76-83F3-131B255BDC29}" destId="{95EF60D5-D22F-4D11-9496-0597475F9D01}" srcOrd="0" destOrd="0" presId="urn:microsoft.com/office/officeart/2005/8/layout/radial4"/>
    <dgm:cxn modelId="{7AD3363B-45D5-4605-B80E-6CD9DFFA73AC}" type="presOf" srcId="{6CD26447-569C-42A2-8E6E-7D3B5F72A63F}" destId="{29DD35B8-6E0D-4F78-98AB-E60991CD1879}" srcOrd="0" destOrd="0" presId="urn:microsoft.com/office/officeart/2005/8/layout/radial4"/>
    <dgm:cxn modelId="{72E41019-23BD-42FC-BD37-03E9662C2428}" srcId="{5A7729A2-75B9-4FBC-8844-90F76B1D8C7E}" destId="{C84695D3-AE9A-4501-A621-669274CEC8DD}" srcOrd="2" destOrd="0" parTransId="{D9E2EB92-0DA5-4648-A69C-26B82C1D0905}" sibTransId="{75687ADF-CBCC-429E-B8E9-43F016C33414}"/>
    <dgm:cxn modelId="{5CA25F12-CF8D-4F50-8EF2-BA4DA19D12FE}" type="presOf" srcId="{BD9EE668-1606-4F7E-A7BD-8FEDCB65A7D4}" destId="{A7DF65F0-E58E-443E-9565-BE0026763C32}" srcOrd="0" destOrd="0" presId="urn:microsoft.com/office/officeart/2005/8/layout/radial4"/>
    <dgm:cxn modelId="{89D05A8D-469B-4DF1-892E-FCE65BE48E0F}" type="presOf" srcId="{82F82485-D9D4-4AC9-A44B-051857860A87}" destId="{C2828057-5F65-4707-A76C-46A6588FAB93}" srcOrd="0" destOrd="0" presId="urn:microsoft.com/office/officeart/2005/8/layout/radial4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DF99038D-AFC5-4BC8-8936-25587AE0C7F4}" type="presParOf" srcId="{F529A9FE-3A30-478D-8FB5-0EE20CF3B2CD}" destId="{2A0F7F32-F42D-45CF-99FD-97CF4F1B69CF}" srcOrd="0" destOrd="0" presId="urn:microsoft.com/office/officeart/2005/8/layout/radial4"/>
    <dgm:cxn modelId="{1BC62BC5-61DC-4AA2-8E02-E8E32C6C8CFD}" type="presParOf" srcId="{F529A9FE-3A30-478D-8FB5-0EE20CF3B2CD}" destId="{6C299B1E-FF91-4041-B597-AC7D7E336DDB}" srcOrd="1" destOrd="0" presId="urn:microsoft.com/office/officeart/2005/8/layout/radial4"/>
    <dgm:cxn modelId="{287A91C8-FDB0-4526-AE67-1A7792023EEB}" type="presParOf" srcId="{F529A9FE-3A30-478D-8FB5-0EE20CF3B2CD}" destId="{A7DF65F0-E58E-443E-9565-BE0026763C32}" srcOrd="2" destOrd="0" presId="urn:microsoft.com/office/officeart/2005/8/layout/radial4"/>
    <dgm:cxn modelId="{497FDD99-2DA6-48C4-BB00-6A4E84AE4860}" type="presParOf" srcId="{F529A9FE-3A30-478D-8FB5-0EE20CF3B2CD}" destId="{BC821710-D8D6-44B3-AE70-1FB80AE0FF86}" srcOrd="3" destOrd="0" presId="urn:microsoft.com/office/officeart/2005/8/layout/radial4"/>
    <dgm:cxn modelId="{D603F3DF-AFC1-4592-8D31-354EC6D1B5CD}" type="presParOf" srcId="{F529A9FE-3A30-478D-8FB5-0EE20CF3B2CD}" destId="{3BC5D919-0D36-4BCD-8CBA-4FD7223A2EAB}" srcOrd="4" destOrd="0" presId="urn:microsoft.com/office/officeart/2005/8/layout/radial4"/>
    <dgm:cxn modelId="{EDF760F3-D1AB-45D2-BE92-6B45045B1112}" type="presParOf" srcId="{F529A9FE-3A30-478D-8FB5-0EE20CF3B2CD}" destId="{8351C695-285C-48C7-B152-A664EB02542B}" srcOrd="5" destOrd="0" presId="urn:microsoft.com/office/officeart/2005/8/layout/radial4"/>
    <dgm:cxn modelId="{AB258435-7355-4469-9FF4-BC3C582AE1DA}" type="presParOf" srcId="{F529A9FE-3A30-478D-8FB5-0EE20CF3B2CD}" destId="{070E8865-E939-402B-ACC1-7E492C9F957C}" srcOrd="6" destOrd="0" presId="urn:microsoft.com/office/officeart/2005/8/layout/radial4"/>
    <dgm:cxn modelId="{5A542D42-2172-4052-A4F1-4D23130D9D37}" type="presParOf" srcId="{F529A9FE-3A30-478D-8FB5-0EE20CF3B2CD}" destId="{C2828057-5F65-4707-A76C-46A6588FAB93}" srcOrd="7" destOrd="0" presId="urn:microsoft.com/office/officeart/2005/8/layout/radial4"/>
    <dgm:cxn modelId="{CF8B61D2-9FE0-40E2-8EB0-4DF83CAE5FC6}" type="presParOf" srcId="{F529A9FE-3A30-478D-8FB5-0EE20CF3B2CD}" destId="{36349CBE-CB7C-48FD-83C3-D60F2DB8658D}" srcOrd="8" destOrd="0" presId="urn:microsoft.com/office/officeart/2005/8/layout/radial4"/>
    <dgm:cxn modelId="{DF7265EF-4FD4-416E-8B9B-772FEC1F8C8D}" type="presParOf" srcId="{F529A9FE-3A30-478D-8FB5-0EE20CF3B2CD}" destId="{4B4D99F5-8EB6-4D63-9E7E-33104683C900}" srcOrd="9" destOrd="0" presId="urn:microsoft.com/office/officeart/2005/8/layout/radial4"/>
    <dgm:cxn modelId="{BDE80EA9-50B4-43EE-9A9B-574FFBF7B6EB}" type="presParOf" srcId="{F529A9FE-3A30-478D-8FB5-0EE20CF3B2CD}" destId="{36620F52-F392-4ECF-A78A-2AE4CA2CE548}" srcOrd="10" destOrd="0" presId="urn:microsoft.com/office/officeart/2005/8/layout/radial4"/>
    <dgm:cxn modelId="{8624F408-6F8F-4E2D-AF18-A949DD60565E}" type="presParOf" srcId="{F529A9FE-3A30-478D-8FB5-0EE20CF3B2CD}" destId="{95EF60D5-D22F-4D11-9496-0597475F9D01}" srcOrd="11" destOrd="0" presId="urn:microsoft.com/office/officeart/2005/8/layout/radial4"/>
    <dgm:cxn modelId="{A66081CE-4441-42AD-B680-EDB90A81EDBC}" type="presParOf" srcId="{F529A9FE-3A30-478D-8FB5-0EE20CF3B2CD}" destId="{29DD35B8-6E0D-4F78-98AB-E60991CD1879}" srcOrd="12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x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User specified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57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93DE3352-3A78-4F94-B7CD-E5428B54C622}" type="presOf" srcId="{528F3EA0-FF05-41BA-8D3E-F7B5C76FE089}" destId="{1C2747ED-0D77-4E6D-821C-76CAEE910644}" srcOrd="0" destOrd="0" presId="urn:microsoft.com/office/officeart/2005/8/layout/vList2"/>
    <dgm:cxn modelId="{5D187D98-C299-4CFF-A327-98F7DEFF663F}" type="presOf" srcId="{0BD08EE0-BF9E-4795-9B77-0FBE4D9C3FAA}" destId="{E5C0A0C3-950D-4232-9872-9174C1E989AA}" srcOrd="0" destOrd="0" presId="urn:microsoft.com/office/officeart/2005/8/layout/vList2"/>
    <dgm:cxn modelId="{989FF4FB-799B-419D-8CA7-AE2BCA3EBC3D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C74F28F-429D-4DC9-994E-CA461B22EF4E}" type="presParOf" srcId="{B9ED2192-F917-4BE7-A6BE-813D7F382554}" destId="{1C2747ED-0D77-4E6D-821C-76CAEE910644}" srcOrd="0" destOrd="0" presId="urn:microsoft.com/office/officeart/2005/8/layout/vList2"/>
    <dgm:cxn modelId="{40841C3C-7DC5-46E1-AE9D-9AA2BD0FC5CA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2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ecurit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For confidentialit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79055" custLinFactNeighborX="4000" custLinFactNeighborY="-3974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 custLinFactNeighborX="4000" custLinFactNeighborY="79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D91ABFB9-D9AF-44F4-9935-7A81B3CC4E9C}" type="presOf" srcId="{528F3EA0-FF05-41BA-8D3E-F7B5C76FE089}" destId="{1C2747ED-0D77-4E6D-821C-76CAEE910644}" srcOrd="0" destOrd="0" presId="urn:microsoft.com/office/officeart/2005/8/layout/vList2"/>
    <dgm:cxn modelId="{8D05B5A3-A52C-49CB-AC47-34D28D202284}" type="presOf" srcId="{0BD08EE0-BF9E-4795-9B77-0FBE4D9C3FAA}" destId="{E5C0A0C3-950D-4232-9872-9174C1E989AA}" srcOrd="0" destOrd="0" presId="urn:microsoft.com/office/officeart/2005/8/layout/vList2"/>
    <dgm:cxn modelId="{EDE97C2A-6470-4F1C-8DD5-243907CC22C2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DD5C37A0-6566-4DA6-86DA-8A0BF9459D27}" type="presParOf" srcId="{B9ED2192-F917-4BE7-A6BE-813D7F382554}" destId="{1C2747ED-0D77-4E6D-821C-76CAEE910644}" srcOrd="0" destOrd="0" presId="urn:microsoft.com/office/officeart/2005/8/layout/vList2"/>
    <dgm:cxn modelId="{8D7F3F70-13CF-4027-87B8-81E9C4D3BC5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 custT="1"/>
      <dgm:spPr/>
      <dgm:t>
        <a:bodyPr/>
        <a:lstStyle/>
        <a:p>
          <a:r>
            <a:rPr lang="en-IN" sz="1600" dirty="0" smtClean="0"/>
            <a:t>Manager/User</a:t>
          </a:r>
          <a:endParaRPr lang="en-IN" sz="1000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BD9EE668-1606-4F7E-A7BD-8FEDCB65A7D4}">
      <dgm:prSet phldrT="[Text]"/>
      <dgm:spPr/>
      <dgm:t>
        <a:bodyPr/>
        <a:lstStyle/>
        <a:p>
          <a:r>
            <a:rPr lang="en-IN" dirty="0" smtClean="0"/>
            <a:t>Login</a:t>
          </a:r>
          <a:endParaRPr lang="en-IN" dirty="0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/>
      <dgm:spPr/>
      <dgm:t>
        <a:bodyPr/>
        <a:lstStyle/>
        <a:p>
          <a:r>
            <a:rPr lang="en-IN" dirty="0" smtClean="0"/>
            <a:t>Raise request</a:t>
          </a:r>
          <a:endParaRPr lang="en-IN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C84695D3-AE9A-4501-A621-669274CEC8DD}">
      <dgm:prSet phldrT="[Text]"/>
      <dgm:spPr/>
      <dgm:t>
        <a:bodyPr/>
        <a:lstStyle/>
        <a:p>
          <a:endParaRPr lang="en-IN" dirty="0"/>
        </a:p>
      </dgm:t>
    </dgm:pt>
    <dgm:pt modelId="{D9E2EB92-0DA5-4648-A69C-26B82C1D0905}" type="parTrans" cxnId="{72E41019-23BD-42FC-BD37-03E9662C2428}">
      <dgm:prSet/>
      <dgm:spPr/>
      <dgm:t>
        <a:bodyPr/>
        <a:lstStyle/>
        <a:p>
          <a:endParaRPr lang="en-IN"/>
        </a:p>
      </dgm:t>
    </dgm:pt>
    <dgm:pt modelId="{75687ADF-CBCC-429E-B8E9-43F016C33414}" type="sibTrans" cxnId="{72E41019-23BD-42FC-BD37-03E9662C2428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5EE888C5-C142-4F81-927B-B90721C1F3E4}">
      <dgm:prSet phldrT="[Text]"/>
      <dgm:spPr/>
      <dgm:t>
        <a:bodyPr/>
        <a:lstStyle/>
        <a:p>
          <a:endParaRPr lang="en-IN" dirty="0"/>
        </a:p>
      </dgm:t>
    </dgm:pt>
    <dgm:pt modelId="{D363C5A8-91EB-4D75-8DC9-29E46A5D4A7F}" type="parTrans" cxnId="{E03982C5-3BDB-497A-BCA3-2DC08723031D}">
      <dgm:prSet/>
      <dgm:spPr/>
      <dgm:t>
        <a:bodyPr/>
        <a:lstStyle/>
        <a:p>
          <a:endParaRPr lang="en-US"/>
        </a:p>
      </dgm:t>
    </dgm:pt>
    <dgm:pt modelId="{0DA8AB2B-BB27-4A16-BCAC-A04684A9C39F}" type="sibTrans" cxnId="{E03982C5-3BDB-497A-BCA3-2DC08723031D}">
      <dgm:prSet/>
      <dgm:spPr/>
      <dgm:t>
        <a:bodyPr/>
        <a:lstStyle/>
        <a:p>
          <a:endParaRPr lang="en-US"/>
        </a:p>
      </dgm:t>
    </dgm:pt>
    <dgm:pt modelId="{FDCCB6A2-D6FC-4C9D-BF15-840D5CAA98D3}">
      <dgm:prSet phldrT="[Text]"/>
      <dgm:spPr/>
      <dgm:t>
        <a:bodyPr/>
        <a:lstStyle/>
        <a:p>
          <a:r>
            <a:rPr lang="en-IN" dirty="0" smtClean="0"/>
            <a:t>View Status</a:t>
          </a:r>
          <a:endParaRPr lang="en-IN" dirty="0"/>
        </a:p>
      </dgm:t>
    </dgm:pt>
    <dgm:pt modelId="{EBDCA544-7BBA-4728-AC44-65ACD090DFEC}" type="parTrans" cxnId="{A0E75DC5-DDCA-439F-B714-911141F5849D}">
      <dgm:prSet/>
      <dgm:spPr/>
      <dgm:t>
        <a:bodyPr/>
        <a:lstStyle/>
        <a:p>
          <a:endParaRPr lang="en-US"/>
        </a:p>
      </dgm:t>
    </dgm:pt>
    <dgm:pt modelId="{F8A2174D-094D-4931-ADB5-AA7B7ED3D53B}" type="sibTrans" cxnId="{A0E75DC5-DDCA-439F-B714-911141F5849D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ScaleY="100000" custLinFactNeighborX="-757" custLinFactNeighborY="-64190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3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3" custRadScaleRad="80745" custRadScaleInc="-4550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3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3" custRadScaleRad="14827" custRadScaleInc="28417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453DFFDD-A1C4-480C-9C85-C9211A3EA186}" type="pres">
      <dgm:prSet presAssocID="{EBDCA544-7BBA-4728-AC44-65ACD090DFEC}" presName="parTrans" presStyleLbl="bgSibTrans2D1" presStyleIdx="2" presStyleCnt="3"/>
      <dgm:spPr/>
      <dgm:t>
        <a:bodyPr/>
        <a:lstStyle/>
        <a:p>
          <a:endParaRPr lang="en-US"/>
        </a:p>
      </dgm:t>
    </dgm:pt>
    <dgm:pt modelId="{72EE302B-E5FA-4ED6-A6B1-71A383100CA3}" type="pres">
      <dgm:prSet presAssocID="{FDCCB6A2-D6FC-4C9D-BF15-840D5CAA98D3}" presName="node" presStyleLbl="node1" presStyleIdx="2" presStyleCnt="3" custRadScaleRad="86977" custRadScaleInc="3565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AC997D2-0AE4-4BF3-BE1A-2F85633313DB}" type="presOf" srcId="{D0C8E95D-CA20-4230-90CD-01C12FD442EB}" destId="{3BC5D919-0D36-4BCD-8CBA-4FD7223A2EAB}" srcOrd="0" destOrd="0" presId="urn:microsoft.com/office/officeart/2005/8/layout/radial4"/>
    <dgm:cxn modelId="{C8FE8C33-F053-4F72-A679-865A20ADC25A}" srcId="{C84695D3-AE9A-4501-A621-669274CEC8DD}" destId="{1519598A-C7D9-41F3-AD4D-D2A98F8597F0}" srcOrd="1" destOrd="0" parTransId="{490C96F4-303B-442C-AFC2-3E90B07DFEFA}" sibTransId="{F8FB0056-87E2-4E3C-A2A0-79295F437154}"/>
    <dgm:cxn modelId="{7D7BFA6D-DDDE-4DC6-B450-BD1EF9D01C09}" type="presOf" srcId="{27810326-169A-46D3-BDD9-A7895E48CE8E}" destId="{6C299B1E-FF91-4041-B597-AC7D7E336DDB}" srcOrd="0" destOrd="0" presId="urn:microsoft.com/office/officeart/2005/8/layout/radial4"/>
    <dgm:cxn modelId="{E03982C5-3BDB-497A-BCA3-2DC08723031D}" srcId="{C84695D3-AE9A-4501-A621-669274CEC8DD}" destId="{5EE888C5-C142-4F81-927B-B90721C1F3E4}" srcOrd="0" destOrd="0" parTransId="{D363C5A8-91EB-4D75-8DC9-29E46A5D4A7F}" sibTransId="{0DA8AB2B-BB27-4A16-BCAC-A04684A9C39F}"/>
    <dgm:cxn modelId="{C4B3E21E-5FEE-43E4-902D-553A911BC2F9}" type="presOf" srcId="{BD9EE668-1606-4F7E-A7BD-8FEDCB65A7D4}" destId="{A7DF65F0-E58E-443E-9565-BE0026763C32}" srcOrd="0" destOrd="0" presId="urn:microsoft.com/office/officeart/2005/8/layout/radial4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B03959B4-D221-48EC-8135-B181ADEA8E24}" type="presOf" srcId="{05DB67F3-24D5-493F-B8D6-D9EFCA9C33FA}" destId="{BC821710-D8D6-44B3-AE70-1FB80AE0FF86}" srcOrd="0" destOrd="0" presId="urn:microsoft.com/office/officeart/2005/8/layout/radial4"/>
    <dgm:cxn modelId="{E1C667AA-AB42-41F1-9E06-42F2B2B14F43}" type="presOf" srcId="{EBDCA544-7BBA-4728-AC44-65ACD090DFEC}" destId="{453DFFDD-A1C4-480C-9C85-C9211A3EA186}" srcOrd="0" destOrd="0" presId="urn:microsoft.com/office/officeart/2005/8/layout/radial4"/>
    <dgm:cxn modelId="{56CB5D0A-DDF0-43C7-B907-75348E15C33F}" type="presOf" srcId="{A1BA4038-8694-4208-86E4-E637D37487CE}" destId="{F529A9FE-3A30-478D-8FB5-0EE20CF3B2CD}" srcOrd="0" destOrd="0" presId="urn:microsoft.com/office/officeart/2005/8/layout/radial4"/>
    <dgm:cxn modelId="{72E41019-23BD-42FC-BD37-03E9662C2428}" srcId="{A1BA4038-8694-4208-86E4-E637D37487CE}" destId="{C84695D3-AE9A-4501-A621-669274CEC8DD}" srcOrd="1" destOrd="0" parTransId="{D9E2EB92-0DA5-4648-A69C-26B82C1D0905}" sibTransId="{75687ADF-CBCC-429E-B8E9-43F016C33414}"/>
    <dgm:cxn modelId="{A20CEBA4-47ED-4952-996B-8BBB7A8F557D}" type="presOf" srcId="{5A7729A2-75B9-4FBC-8844-90F76B1D8C7E}" destId="{2A0F7F32-F42D-45CF-99FD-97CF4F1B69CF}" srcOrd="0" destOrd="0" presId="urn:microsoft.com/office/officeart/2005/8/layout/radial4"/>
    <dgm:cxn modelId="{A0E75DC5-DDCA-439F-B714-911141F5849D}" srcId="{5A7729A2-75B9-4FBC-8844-90F76B1D8C7E}" destId="{FDCCB6A2-D6FC-4C9D-BF15-840D5CAA98D3}" srcOrd="2" destOrd="0" parTransId="{EBDCA544-7BBA-4728-AC44-65ACD090DFEC}" sibTransId="{F8A2174D-094D-4931-ADB5-AA7B7ED3D53B}"/>
    <dgm:cxn modelId="{8EF3B6E2-D319-4E74-85CC-65D64DD1CE93}" type="presOf" srcId="{FDCCB6A2-D6FC-4C9D-BF15-840D5CAA98D3}" destId="{72EE302B-E5FA-4ED6-A6B1-71A383100CA3}" srcOrd="0" destOrd="0" presId="urn:microsoft.com/office/officeart/2005/8/layout/radial4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BDFD953B-F1F8-402C-BC56-F5A463F85F4C}" type="presParOf" srcId="{F529A9FE-3A30-478D-8FB5-0EE20CF3B2CD}" destId="{2A0F7F32-F42D-45CF-99FD-97CF4F1B69CF}" srcOrd="0" destOrd="0" presId="urn:microsoft.com/office/officeart/2005/8/layout/radial4"/>
    <dgm:cxn modelId="{29270453-7B26-4D26-BBD6-4F5D36552D66}" type="presParOf" srcId="{F529A9FE-3A30-478D-8FB5-0EE20CF3B2CD}" destId="{6C299B1E-FF91-4041-B597-AC7D7E336DDB}" srcOrd="1" destOrd="0" presId="urn:microsoft.com/office/officeart/2005/8/layout/radial4"/>
    <dgm:cxn modelId="{124E0C94-5A10-4FCB-85DC-6BE67E465D47}" type="presParOf" srcId="{F529A9FE-3A30-478D-8FB5-0EE20CF3B2CD}" destId="{A7DF65F0-E58E-443E-9565-BE0026763C32}" srcOrd="2" destOrd="0" presId="urn:microsoft.com/office/officeart/2005/8/layout/radial4"/>
    <dgm:cxn modelId="{EC02CC26-1EF0-4CE5-B96A-22527EA49E88}" type="presParOf" srcId="{F529A9FE-3A30-478D-8FB5-0EE20CF3B2CD}" destId="{BC821710-D8D6-44B3-AE70-1FB80AE0FF86}" srcOrd="3" destOrd="0" presId="urn:microsoft.com/office/officeart/2005/8/layout/radial4"/>
    <dgm:cxn modelId="{2E6B6192-DA31-4917-91B7-1654151A662C}" type="presParOf" srcId="{F529A9FE-3A30-478D-8FB5-0EE20CF3B2CD}" destId="{3BC5D919-0D36-4BCD-8CBA-4FD7223A2EAB}" srcOrd="4" destOrd="0" presId="urn:microsoft.com/office/officeart/2005/8/layout/radial4"/>
    <dgm:cxn modelId="{037D512E-2C42-4EB0-9562-F92F4A6A028C}" type="presParOf" srcId="{F529A9FE-3A30-478D-8FB5-0EE20CF3B2CD}" destId="{453DFFDD-A1C4-480C-9C85-C9211A3EA186}" srcOrd="5" destOrd="0" presId="urn:microsoft.com/office/officeart/2005/8/layout/radial4"/>
    <dgm:cxn modelId="{8D7F10FA-7ECA-4050-837B-4808E8530D7E}" type="presParOf" srcId="{F529A9FE-3A30-478D-8FB5-0EE20CF3B2CD}" destId="{72EE302B-E5FA-4ED6-A6B1-71A383100CA3}" srcOrd="6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File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orage of information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875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B8432A1A-823A-425F-8772-7205F288A978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B5830F3E-BC9E-4115-966C-5BF894773023}" type="presOf" srcId="{0BD08EE0-BF9E-4795-9B77-0FBE4D9C3FAA}" destId="{E5C0A0C3-950D-4232-9872-9174C1E989AA}" srcOrd="0" destOrd="0" presId="urn:microsoft.com/office/officeart/2005/8/layout/vList2"/>
    <dgm:cxn modelId="{4E4910E4-E4C4-4FBB-8292-909BEB45174B}" type="presOf" srcId="{528F3EA0-FF05-41BA-8D3E-F7B5C76FE089}" destId="{1C2747ED-0D77-4E6D-821C-76CAEE910644}" srcOrd="0" destOrd="0" presId="urn:microsoft.com/office/officeart/2005/8/layout/vList2"/>
    <dgm:cxn modelId="{0B4E18BF-9764-4F1D-8E6D-CFBF87DC49E1}" type="presParOf" srcId="{B9ED2192-F917-4BE7-A6BE-813D7F382554}" destId="{1C2747ED-0D77-4E6D-821C-76CAEE910644}" srcOrd="0" destOrd="0" presId="urn:microsoft.com/office/officeart/2005/8/layout/vList2"/>
    <dgm:cxn modelId="{89BB07B3-BC0A-43D5-A358-2370E51CB9C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Quer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improvement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2803" custLinFactNeighborY="-13803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AD8AE850-DE88-47D4-8A3E-CDFEE2141164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A806F339-42D6-488F-B73B-C32784387D9E}" type="presOf" srcId="{0BD08EE0-BF9E-4795-9B77-0FBE4D9C3FAA}" destId="{E5C0A0C3-950D-4232-9872-9174C1E989AA}" srcOrd="0" destOrd="0" presId="urn:microsoft.com/office/officeart/2005/8/layout/vList2"/>
    <dgm:cxn modelId="{09F4A44D-A880-4E47-AE17-530D40517CCB}" type="presOf" srcId="{528F3EA0-FF05-41BA-8D3E-F7B5C76FE089}" destId="{1C2747ED-0D77-4E6D-821C-76CAEE910644}" srcOrd="0" destOrd="0" presId="urn:microsoft.com/office/officeart/2005/8/layout/vList2"/>
    <dgm:cxn modelId="{09639F89-33C6-4CEE-B618-8F4A6C926E34}" type="presParOf" srcId="{B9ED2192-F917-4BE7-A6BE-813D7F382554}" destId="{1C2747ED-0D77-4E6D-821C-76CAEE910644}" srcOrd="0" destOrd="0" presId="urn:microsoft.com/office/officeart/2005/8/layout/vList2"/>
    <dgm:cxn modelId="{9D48C332-60F8-498A-A8D0-A83B0DEB43AD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rror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consistenc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31053" custLinFactNeighborY="-11961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4C39FBC-6033-4124-8AB4-5C59E650AB66}" type="presOf" srcId="{528F3EA0-FF05-41BA-8D3E-F7B5C76FE089}" destId="{1C2747ED-0D77-4E6D-821C-76CAEE910644}" srcOrd="0" destOrd="0" presId="urn:microsoft.com/office/officeart/2005/8/layout/vList2"/>
    <dgm:cxn modelId="{BC561092-4E2B-4670-86CE-E71839A297AE}" type="presOf" srcId="{66487DD0-4D79-4180-AB81-B361B4FACE09}" destId="{B9ED2192-F917-4BE7-A6BE-813D7F382554}" srcOrd="0" destOrd="0" presId="urn:microsoft.com/office/officeart/2005/8/layout/vList2"/>
    <dgm:cxn modelId="{765B1C9F-2A09-401B-AC9F-443E4FF6A5CA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65BFDB75-162C-4FC0-BFC8-D4999C51CAC6}" type="presParOf" srcId="{B9ED2192-F917-4BE7-A6BE-813D7F382554}" destId="{1C2747ED-0D77-4E6D-821C-76CAEE910644}" srcOrd="0" destOrd="0" presId="urn:microsoft.com/office/officeart/2005/8/layout/vList2"/>
    <dgm:cxn modelId="{57488682-8DA0-403F-80E4-D1E2CAB4071E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ystem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Minimum specification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-2169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89B27D9D-F90A-4C43-9602-2BB5FC002FA2}" type="presOf" srcId="{0BD08EE0-BF9E-4795-9B77-0FBE4D9C3FAA}" destId="{E5C0A0C3-950D-4232-9872-9174C1E989AA}" srcOrd="0" destOrd="0" presId="urn:microsoft.com/office/officeart/2005/8/layout/vList2"/>
    <dgm:cxn modelId="{6A5A7997-60E3-4B19-9B45-2F5D0B4C8CA1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96583044-F721-428D-8BB8-611BE716F13D}" type="presOf" srcId="{528F3EA0-FF05-41BA-8D3E-F7B5C76FE089}" destId="{1C2747ED-0D77-4E6D-821C-76CAEE910644}" srcOrd="0" destOrd="0" presId="urn:microsoft.com/office/officeart/2005/8/layout/vList2"/>
    <dgm:cxn modelId="{4D6538F3-4DC1-4DF7-B0FF-24A29F3DEBD0}" type="presParOf" srcId="{B9ED2192-F917-4BE7-A6BE-813D7F382554}" destId="{1C2747ED-0D77-4E6D-821C-76CAEE910644}" srcOrd="0" destOrd="0" presId="urn:microsoft.com/office/officeart/2005/8/layout/vList2"/>
    <dgm:cxn modelId="{666B91FE-00DA-4E8B-BD69-42572398D3C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nvoc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art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14A97BF4-84E4-470B-AB37-71905FC3E903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0592EC2-C7C2-473F-ABC4-22128D02E5EE}" type="presOf" srcId="{66487DD0-4D79-4180-AB81-B361B4FACE09}" destId="{B9ED2192-F917-4BE7-A6BE-813D7F382554}" srcOrd="0" destOrd="0" presId="urn:microsoft.com/office/officeart/2005/8/layout/vList2"/>
    <dgm:cxn modelId="{AD35A513-EB19-40C3-8B90-685FFA0E814E}" type="presOf" srcId="{0BD08EE0-BF9E-4795-9B77-0FBE4D9C3FAA}" destId="{E5C0A0C3-950D-4232-9872-9174C1E989AA}" srcOrd="0" destOrd="0" presId="urn:microsoft.com/office/officeart/2005/8/layout/vList2"/>
    <dgm:cxn modelId="{9FF28AB8-C731-4A85-A7FC-873C72BFF9DB}" type="presParOf" srcId="{B9ED2192-F917-4BE7-A6BE-813D7F382554}" destId="{1C2747ED-0D77-4E6D-821C-76CAEE910644}" srcOrd="0" destOrd="0" presId="urn:microsoft.com/office/officeart/2005/8/layout/vList2"/>
    <dgm:cxn modelId="{59F0DB47-D8AC-4F91-8650-35383D0FEA54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Termin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nd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7167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3D68D77-E432-4550-AC3B-5D08BCB7BD5F}" type="presOf" srcId="{66487DD0-4D79-4180-AB81-B361B4FACE09}" destId="{B9ED2192-F917-4BE7-A6BE-813D7F382554}" srcOrd="0" destOrd="0" presId="urn:microsoft.com/office/officeart/2005/8/layout/vList2"/>
    <dgm:cxn modelId="{3549CD3E-7C22-4C2E-A013-CF328024B98E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FDBDD394-AEE1-463E-ABF8-EAB288E3678C}" type="presOf" srcId="{528F3EA0-FF05-41BA-8D3E-F7B5C76FE089}" destId="{1C2747ED-0D77-4E6D-821C-76CAEE910644}" srcOrd="0" destOrd="0" presId="urn:microsoft.com/office/officeart/2005/8/layout/vList2"/>
    <dgm:cxn modelId="{78E808DC-54EE-4086-96B9-9988F69BD1BE}" type="presParOf" srcId="{B9ED2192-F917-4BE7-A6BE-813D7F382554}" destId="{1C2747ED-0D77-4E6D-821C-76CAEE910644}" srcOrd="0" destOrd="0" presId="urn:microsoft.com/office/officeart/2005/8/layout/vList2"/>
    <dgm:cxn modelId="{C82ED0AB-B79C-402D-89DA-1C005FB88C5B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m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fficiency 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9043" custLinFactNeighborY="-1503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77827008-6AA6-419E-9AC9-4029061E8D33}" type="presOf" srcId="{66487DD0-4D79-4180-AB81-B361B4FACE09}" destId="{B9ED2192-F917-4BE7-A6BE-813D7F382554}" srcOrd="0" destOrd="0" presId="urn:microsoft.com/office/officeart/2005/8/layout/vList2"/>
    <dgm:cxn modelId="{E9560A93-B640-4895-B3CD-468A15897000}" type="presOf" srcId="{528F3EA0-FF05-41BA-8D3E-F7B5C76FE089}" destId="{1C2747ED-0D77-4E6D-821C-76CAEE910644}" srcOrd="0" destOrd="0" presId="urn:microsoft.com/office/officeart/2005/8/layout/vList2"/>
    <dgm:cxn modelId="{843F4E2B-AC1D-41F2-B93A-EA449ABD71BC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89EBEEC7-6062-41D5-988B-9CCE651E068D}" type="presParOf" srcId="{B9ED2192-F917-4BE7-A6BE-813D7F382554}" destId="{1C2747ED-0D77-4E6D-821C-76CAEE910644}" srcOrd="0" destOrd="0" presId="urn:microsoft.com/office/officeart/2005/8/layout/vList2"/>
    <dgm:cxn modelId="{C9B4C065-A621-46ED-96E9-C2737931297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7/23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641625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July 23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Use%20Case%20Specification.docx" TargetMode="External"/><Relationship Id="rId2" Type="http://schemas.openxmlformats.org/officeDocument/2006/relationships/hyperlink" Target="Use%20Case%20Specification_asset.docx" TargetMode="Externa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mini%20project%20defect%20report.xlsx" TargetMode="Externa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://ndafile:8081/AssetManagementSystem_Spring/index.html" TargetMode="External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Login1.html" TargetMode="External"/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hyperlink" Target="AMS%20testcases(3).xlsx" TargetMode="Externa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PROJECT_RVFD.xls" TargetMode="Externa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13" Type="http://schemas.openxmlformats.org/officeDocument/2006/relationships/diagramData" Target="../diagrams/data5.xml"/><Relationship Id="rId18" Type="http://schemas.openxmlformats.org/officeDocument/2006/relationships/diagramData" Target="../diagrams/data6.xml"/><Relationship Id="rId26" Type="http://schemas.openxmlformats.org/officeDocument/2006/relationships/diagramColors" Target="../diagrams/colors7.xml"/><Relationship Id="rId39" Type="http://schemas.openxmlformats.org/officeDocument/2006/relationships/diagramLayout" Target="../diagrams/layout10.xml"/><Relationship Id="rId3" Type="http://schemas.openxmlformats.org/officeDocument/2006/relationships/diagramData" Target="../diagrams/data3.xml"/><Relationship Id="rId21" Type="http://schemas.openxmlformats.org/officeDocument/2006/relationships/diagramColors" Target="../diagrams/colors6.xml"/><Relationship Id="rId34" Type="http://schemas.openxmlformats.org/officeDocument/2006/relationships/diagramLayout" Target="../diagrams/layout9.xml"/><Relationship Id="rId42" Type="http://schemas.microsoft.com/office/2007/relationships/diagramDrawing" Target="../diagrams/drawing10.xml"/><Relationship Id="rId47" Type="http://schemas.microsoft.com/office/2007/relationships/diagramDrawing" Target="../diagrams/drawing11.xml"/><Relationship Id="rId7" Type="http://schemas.microsoft.com/office/2007/relationships/diagramDrawing" Target="../diagrams/drawing3.xml"/><Relationship Id="rId12" Type="http://schemas.microsoft.com/office/2007/relationships/diagramDrawing" Target="../diagrams/drawing4.xml"/><Relationship Id="rId17" Type="http://schemas.microsoft.com/office/2007/relationships/diagramDrawing" Target="../diagrams/drawing5.xml"/><Relationship Id="rId25" Type="http://schemas.openxmlformats.org/officeDocument/2006/relationships/diagramQuickStyle" Target="../diagrams/quickStyle7.xml"/><Relationship Id="rId33" Type="http://schemas.openxmlformats.org/officeDocument/2006/relationships/diagramData" Target="../diagrams/data9.xml"/><Relationship Id="rId38" Type="http://schemas.openxmlformats.org/officeDocument/2006/relationships/diagramData" Target="../diagrams/data10.xml"/><Relationship Id="rId46" Type="http://schemas.openxmlformats.org/officeDocument/2006/relationships/diagramColors" Target="../diagrams/colors11.xml"/><Relationship Id="rId2" Type="http://schemas.openxmlformats.org/officeDocument/2006/relationships/notesSlide" Target="../notesSlides/notesSlide5.xml"/><Relationship Id="rId16" Type="http://schemas.openxmlformats.org/officeDocument/2006/relationships/diagramColors" Target="../diagrams/colors5.xml"/><Relationship Id="rId20" Type="http://schemas.openxmlformats.org/officeDocument/2006/relationships/diagramQuickStyle" Target="../diagrams/quickStyle6.xml"/><Relationship Id="rId29" Type="http://schemas.openxmlformats.org/officeDocument/2006/relationships/diagramLayout" Target="../diagrams/layout8.xml"/><Relationship Id="rId41" Type="http://schemas.openxmlformats.org/officeDocument/2006/relationships/diagramColors" Target="../diagrams/colors10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4.xml"/><Relationship Id="rId24" Type="http://schemas.openxmlformats.org/officeDocument/2006/relationships/diagramLayout" Target="../diagrams/layout7.xml"/><Relationship Id="rId32" Type="http://schemas.microsoft.com/office/2007/relationships/diagramDrawing" Target="../diagrams/drawing8.xml"/><Relationship Id="rId37" Type="http://schemas.microsoft.com/office/2007/relationships/diagramDrawing" Target="../diagrams/drawing9.xml"/><Relationship Id="rId40" Type="http://schemas.openxmlformats.org/officeDocument/2006/relationships/diagramQuickStyle" Target="../diagrams/quickStyle10.xml"/><Relationship Id="rId45" Type="http://schemas.openxmlformats.org/officeDocument/2006/relationships/diagramQuickStyle" Target="../diagrams/quickStyle11.xml"/><Relationship Id="rId5" Type="http://schemas.openxmlformats.org/officeDocument/2006/relationships/diagramQuickStyle" Target="../diagrams/quickStyle3.xml"/><Relationship Id="rId15" Type="http://schemas.openxmlformats.org/officeDocument/2006/relationships/diagramQuickStyle" Target="../diagrams/quickStyle5.xml"/><Relationship Id="rId23" Type="http://schemas.openxmlformats.org/officeDocument/2006/relationships/diagramData" Target="../diagrams/data7.xml"/><Relationship Id="rId28" Type="http://schemas.openxmlformats.org/officeDocument/2006/relationships/diagramData" Target="../diagrams/data8.xml"/><Relationship Id="rId36" Type="http://schemas.openxmlformats.org/officeDocument/2006/relationships/diagramColors" Target="../diagrams/colors9.xml"/><Relationship Id="rId10" Type="http://schemas.openxmlformats.org/officeDocument/2006/relationships/diagramQuickStyle" Target="../diagrams/quickStyle4.xml"/><Relationship Id="rId19" Type="http://schemas.openxmlformats.org/officeDocument/2006/relationships/diagramLayout" Target="../diagrams/layout6.xml"/><Relationship Id="rId31" Type="http://schemas.openxmlformats.org/officeDocument/2006/relationships/diagramColors" Target="../diagrams/colors8.xml"/><Relationship Id="rId44" Type="http://schemas.openxmlformats.org/officeDocument/2006/relationships/diagramLayout" Target="../diagrams/layout11.xml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4.xml"/><Relationship Id="rId14" Type="http://schemas.openxmlformats.org/officeDocument/2006/relationships/diagramLayout" Target="../diagrams/layout5.xml"/><Relationship Id="rId22" Type="http://schemas.microsoft.com/office/2007/relationships/diagramDrawing" Target="../diagrams/drawing6.xml"/><Relationship Id="rId27" Type="http://schemas.microsoft.com/office/2007/relationships/diagramDrawing" Target="../diagrams/drawing7.xml"/><Relationship Id="rId30" Type="http://schemas.openxmlformats.org/officeDocument/2006/relationships/diagramQuickStyle" Target="../diagrams/quickStyle8.xml"/><Relationship Id="rId35" Type="http://schemas.openxmlformats.org/officeDocument/2006/relationships/diagramQuickStyle" Target="../diagrams/quickStyle9.xml"/><Relationship Id="rId43" Type="http://schemas.openxmlformats.org/officeDocument/2006/relationships/diagramData" Target="../diagrams/data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4" y="1839913"/>
            <a:ext cx="8285163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5400" b="1" dirty="0" smtClean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  <a:reflection blurRad="6350" stA="60000" endA="900" endPos="58000" dir="5400000" sy="-100000" algn="bl" rotWithShape="0"/>
                </a:effectLst>
                <a:latin typeface="Candara" pitchFamily="34" charset="0"/>
              </a:rPr>
              <a:t>Asset Management System</a:t>
            </a:r>
            <a:endParaRPr lang="en-US" sz="5400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  <a:reflection blurRad="6350" stA="60000" endA="900" endPos="58000" dir="5400000" sy="-100000" algn="bl" rotWithShape="0"/>
              </a:effectLst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0" dirty="0">
                <a:solidFill>
                  <a:schemeClr val="tx1"/>
                </a:solidFill>
              </a:rPr>
              <a:t>A use case is a methodology used in system analysis to identify, clarify, and organize system requirement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r>
              <a:rPr lang="en-US" sz="2400" b="0" dirty="0">
                <a:solidFill>
                  <a:schemeClr val="tx1"/>
                </a:solidFill>
              </a:rPr>
              <a:t>The use case is made up of a set of possible sequences of interactions between systems and users in a particular environment and related to a particular goal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A use case can be thought of as a collection of possible scenarios related to a particular goal, indeed, the use case and goal are sometimes considered to be synonymous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endParaRPr lang="en-US" sz="2400" b="0" dirty="0">
              <a:solidFill>
                <a:schemeClr val="tx1"/>
              </a:solidFill>
            </a:endParaRPr>
          </a:p>
          <a:p>
            <a:r>
              <a:rPr lang="en-US" sz="2400" dirty="0" smtClean="0">
                <a:solidFill>
                  <a:schemeClr val="tx1"/>
                </a:solidFill>
                <a:hlinkClick r:id="rId2" action="ppaction://hlinkfile"/>
              </a:rPr>
              <a:t>LINK:</a:t>
            </a:r>
            <a:r>
              <a:rPr lang="en-US" sz="2400" b="0" dirty="0" smtClean="0">
                <a:solidFill>
                  <a:schemeClr val="tx1"/>
                </a:solidFill>
                <a:hlinkClick r:id="rId3" action="ppaction://hlinkfile"/>
              </a:rPr>
              <a:t>AMS_USECASE</a:t>
            </a:r>
            <a:endParaRPr lang="en-US" sz="2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99630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756" y="89316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Picture 4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2057400"/>
            <a:ext cx="6477000" cy="342900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Box 5"/>
          <p:cNvSpPr txBox="1"/>
          <p:nvPr/>
        </p:nvSpPr>
        <p:spPr>
          <a:xfrm>
            <a:off x="457200" y="1423062"/>
            <a:ext cx="41168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1. For Successful Login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110518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USE CASE DIAGRAM</a:t>
            </a:r>
            <a:endParaRPr lang="en-US" b="1" dirty="0"/>
          </a:p>
        </p:txBody>
      </p:sp>
      <p:sp>
        <p:nvSpPr>
          <p:cNvPr id="3" name="TextBox 2"/>
          <p:cNvSpPr txBox="1"/>
          <p:nvPr/>
        </p:nvSpPr>
        <p:spPr>
          <a:xfrm>
            <a:off x="304800" y="1371600"/>
            <a:ext cx="457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2</a:t>
            </a:r>
            <a:r>
              <a:rPr lang="en-US" sz="2000" dirty="0" smtClean="0"/>
              <a:t>. </a:t>
            </a:r>
            <a:r>
              <a:rPr lang="en-GB" sz="2400" cap="small" dirty="0"/>
              <a:t>For Successful Raise A </a:t>
            </a:r>
            <a:r>
              <a:rPr lang="en-GB" sz="2400" cap="small" dirty="0" smtClean="0"/>
              <a:t>Request</a:t>
            </a:r>
            <a:endParaRPr lang="en-US" sz="2400" cap="small" dirty="0"/>
          </a:p>
        </p:txBody>
      </p:sp>
      <p:pic>
        <p:nvPicPr>
          <p:cNvPr id="4" name="Picture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2286000"/>
            <a:ext cx="6479540" cy="35020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8190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200" y="21266"/>
            <a:ext cx="8229600" cy="792162"/>
          </a:xfrm>
        </p:spPr>
        <p:txBody>
          <a:bodyPr/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 DIAGRAM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81000" y="1371600"/>
            <a:ext cx="4800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3. </a:t>
            </a:r>
            <a:r>
              <a:rPr lang="en-GB" sz="2400" cap="small" dirty="0"/>
              <a:t>For Viewing The Asset </a:t>
            </a:r>
            <a:r>
              <a:rPr lang="en-GB" sz="2400" cap="small" dirty="0" smtClean="0"/>
              <a:t>Status</a:t>
            </a:r>
            <a:endParaRPr lang="en-US" sz="2400" cap="small" dirty="0"/>
          </a:p>
        </p:txBody>
      </p:sp>
      <p:pic>
        <p:nvPicPr>
          <p:cNvPr id="4" name="Picture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2133600"/>
            <a:ext cx="6781800" cy="38862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20229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 CASE DIAGRAM</a:t>
            </a:r>
            <a:endParaRPr lang="en-US" dirty="0"/>
          </a:p>
        </p:txBody>
      </p:sp>
      <p:pic>
        <p:nvPicPr>
          <p:cNvPr id="5" name="Picture 4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2438400"/>
            <a:ext cx="4800600" cy="377190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/>
        </p:nvSpPr>
        <p:spPr>
          <a:xfrm>
            <a:off x="277504" y="1395081"/>
            <a:ext cx="45036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4. </a:t>
            </a:r>
            <a:r>
              <a:rPr lang="en-GB" sz="2400" cap="small" dirty="0"/>
              <a:t>For Successful Addition Of </a:t>
            </a:r>
            <a:r>
              <a:rPr lang="en-GB" sz="2400" cap="small" dirty="0" smtClean="0"/>
              <a:t>Asset</a:t>
            </a:r>
            <a:endParaRPr lang="en-US" cap="small" dirty="0"/>
          </a:p>
        </p:txBody>
      </p:sp>
    </p:spTree>
    <p:extLst>
      <p:ext uri="{BB962C8B-B14F-4D97-AF65-F5344CB8AC3E}">
        <p14:creationId xmlns:p14="http://schemas.microsoft.com/office/powerpoint/2010/main" val="3877771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 CASE DIAGRAM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04800" y="1367135"/>
            <a:ext cx="5562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5. </a:t>
            </a:r>
            <a:r>
              <a:rPr lang="en-GB" sz="2400" cap="small" dirty="0"/>
              <a:t>For Successful Modification Of </a:t>
            </a:r>
            <a:r>
              <a:rPr lang="en-GB" sz="2400" cap="small" dirty="0" smtClean="0"/>
              <a:t>Asset</a:t>
            </a:r>
            <a:endParaRPr lang="en-US" sz="2400" cap="small" dirty="0"/>
          </a:p>
        </p:txBody>
      </p:sp>
      <p:pic>
        <p:nvPicPr>
          <p:cNvPr id="6" name="Picture 5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937" y="2165350"/>
            <a:ext cx="6824663" cy="4191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153456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 CASE DIAGRAM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04800" y="1447800"/>
            <a:ext cx="4495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cap="small" dirty="0"/>
              <a:t>6. For Successful Deletion Of </a:t>
            </a:r>
            <a:r>
              <a:rPr lang="en-GB" sz="2400" cap="small" dirty="0" smtClean="0"/>
              <a:t>Asset</a:t>
            </a:r>
            <a:endParaRPr lang="en-US" sz="2400" cap="small" dirty="0"/>
          </a:p>
        </p:txBody>
      </p:sp>
      <p:pic>
        <p:nvPicPr>
          <p:cNvPr id="6" name="Picture 5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2543836"/>
            <a:ext cx="6019800" cy="29425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047836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FDR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b="0" dirty="0">
                <a:solidFill>
                  <a:schemeClr val="tx1"/>
                </a:solidFill>
              </a:rPr>
              <a:t>A defect is an error or a bug, in the application that causes it to produce an incorrect or unexpected </a:t>
            </a:r>
            <a:r>
              <a:rPr lang="en-US" sz="2000" b="0" dirty="0" smtClean="0">
                <a:solidFill>
                  <a:schemeClr val="tx1"/>
                </a:solidFill>
              </a:rPr>
              <a:t>results. </a:t>
            </a:r>
          </a:p>
          <a:p>
            <a:r>
              <a:rPr lang="en-US" sz="2000" b="0" dirty="0" smtClean="0">
                <a:solidFill>
                  <a:schemeClr val="tx1"/>
                </a:solidFill>
              </a:rPr>
              <a:t>A </a:t>
            </a:r>
            <a:r>
              <a:rPr lang="en-US" sz="2000" b="0" dirty="0">
                <a:solidFill>
                  <a:schemeClr val="tx1"/>
                </a:solidFill>
              </a:rPr>
              <a:t>programmer while </a:t>
            </a:r>
            <a:r>
              <a:rPr lang="en-US" sz="2000" b="0" dirty="0" smtClean="0">
                <a:solidFill>
                  <a:schemeClr val="tx1"/>
                </a:solidFill>
              </a:rPr>
              <a:t>designing and </a:t>
            </a:r>
            <a:r>
              <a:rPr lang="en-US" sz="2000" b="0" dirty="0">
                <a:solidFill>
                  <a:schemeClr val="tx1"/>
                </a:solidFill>
              </a:rPr>
              <a:t>building the software can make mistake or error</a:t>
            </a:r>
            <a:r>
              <a:rPr lang="en-US" sz="20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000" b="0" dirty="0">
                <a:solidFill>
                  <a:schemeClr val="tx1"/>
                </a:solidFill>
              </a:rPr>
              <a:t>These mistakes or errors mean that there are flaws in the software, these are called defects and the report written for logging these defects is called a defect report</a:t>
            </a:r>
            <a:r>
              <a:rPr lang="en-US" sz="2000" b="0" dirty="0" smtClean="0">
                <a:solidFill>
                  <a:schemeClr val="tx1"/>
                </a:solidFill>
              </a:rPr>
              <a:t>.</a:t>
            </a:r>
          </a:p>
          <a:p>
            <a:endParaRPr lang="en-US" sz="2000" b="0" dirty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endParaRPr lang="en-US" sz="2000" b="0" dirty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</a:rPr>
              <a:t>LINK:	</a:t>
            </a:r>
            <a:r>
              <a:rPr lang="en-US" sz="2400" dirty="0" smtClean="0">
                <a:solidFill>
                  <a:schemeClr val="tx1"/>
                </a:solidFill>
                <a:hlinkClick r:id="rId2" action="ppaction://hlinkfile"/>
              </a:rPr>
              <a:t>AMS DEFECT</a:t>
            </a:r>
            <a:endParaRPr lang="en-US" sz="2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9788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/>
              <a:t>DEFECTS FOUND</a:t>
            </a:r>
            <a:endParaRPr lang="en-US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05000"/>
            <a:ext cx="8229600" cy="4221163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display appropriate error message on entering invalid username and invalid password 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Some of the links present in all the pages is not navigating the user to proper web </a:t>
            </a:r>
            <a:r>
              <a:rPr lang="en-US" b="0" dirty="0" smtClean="0">
                <a:solidFill>
                  <a:schemeClr val="tx1"/>
                </a:solidFill>
              </a:rPr>
              <a:t>page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IN" b="0" dirty="0">
                <a:solidFill>
                  <a:schemeClr val="tx1"/>
                </a:solidFill>
              </a:rPr>
              <a:t>There are some common spelling mistakes in all the page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manager is found to raise a request even with </a:t>
            </a:r>
            <a:r>
              <a:rPr lang="en-US" b="0" dirty="0" smtClean="0">
                <a:solidFill>
                  <a:schemeClr val="tx1"/>
                </a:solidFill>
              </a:rPr>
              <a:t>entering invalid values in the Asset details field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manager is found to raise a request even with entering </a:t>
            </a:r>
            <a:r>
              <a:rPr lang="en-US" b="0" dirty="0" smtClean="0">
                <a:solidFill>
                  <a:schemeClr val="tx1"/>
                </a:solidFill>
              </a:rPr>
              <a:t>null </a:t>
            </a:r>
            <a:r>
              <a:rPr lang="en-US" b="0" dirty="0">
                <a:solidFill>
                  <a:schemeClr val="tx1"/>
                </a:solidFill>
              </a:rPr>
              <a:t>values in the Asset details </a:t>
            </a:r>
            <a:r>
              <a:rPr lang="en-US" b="0" dirty="0" smtClean="0">
                <a:solidFill>
                  <a:schemeClr val="tx1"/>
                </a:solidFill>
              </a:rPr>
              <a:t>field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user </a:t>
            </a:r>
            <a:r>
              <a:rPr lang="en-US" b="0" dirty="0" smtClean="0">
                <a:solidFill>
                  <a:schemeClr val="tx1"/>
                </a:solidFill>
              </a:rPr>
              <a:t>is able to view status of raised request even with entering invalid Emp No 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23900" y="1213148"/>
            <a:ext cx="76962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Manager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422177326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FECTS FOUND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830763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display appropriate error message on leaving both the username and password fields as </a:t>
            </a:r>
            <a:r>
              <a:rPr lang="en-US" b="0" dirty="0" smtClean="0">
                <a:solidFill>
                  <a:schemeClr val="tx1"/>
                </a:solidFill>
              </a:rPr>
              <a:t>blank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display appropriate error message on entering invalid username and </a:t>
            </a:r>
            <a:r>
              <a:rPr lang="en-US" b="0" dirty="0" smtClean="0">
                <a:solidFill>
                  <a:schemeClr val="tx1"/>
                </a:solidFill>
              </a:rPr>
              <a:t>invalid </a:t>
            </a:r>
            <a:r>
              <a:rPr lang="en-US" b="0" dirty="0">
                <a:solidFill>
                  <a:schemeClr val="tx1"/>
                </a:solidFill>
              </a:rPr>
              <a:t>password 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Some of the links present in all the pages is not navigating the user to proper web page</a:t>
            </a:r>
            <a:endParaRPr lang="en-US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IN" b="0" dirty="0" smtClean="0">
                <a:solidFill>
                  <a:schemeClr val="tx1"/>
                </a:solidFill>
              </a:rPr>
              <a:t>There are some common spelling mistakes in all the pages</a:t>
            </a:r>
            <a:endParaRPr lang="en-IN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display appropriate error message on leaving asset details </a:t>
            </a:r>
            <a:r>
              <a:rPr lang="en-US" b="0" dirty="0" smtClean="0">
                <a:solidFill>
                  <a:schemeClr val="tx1"/>
                </a:solidFill>
              </a:rPr>
              <a:t>fields </a:t>
            </a:r>
            <a:r>
              <a:rPr lang="en-US" b="0" dirty="0">
                <a:solidFill>
                  <a:schemeClr val="tx1"/>
                </a:solidFill>
              </a:rPr>
              <a:t>as </a:t>
            </a:r>
            <a:r>
              <a:rPr lang="en-US" b="0" dirty="0" smtClean="0">
                <a:solidFill>
                  <a:schemeClr val="tx1"/>
                </a:solidFill>
              </a:rPr>
              <a:t>blank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display appropriate error message on entering invalid </a:t>
            </a:r>
            <a:r>
              <a:rPr lang="en-US" b="0" dirty="0" smtClean="0">
                <a:solidFill>
                  <a:schemeClr val="tx1"/>
                </a:solidFill>
              </a:rPr>
              <a:t>values in asset details fields</a:t>
            </a:r>
            <a:endParaRPr lang="en-US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9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609600" y="1447800"/>
            <a:ext cx="76200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Admin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32541185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AM MEMBERS</a:t>
            </a:r>
            <a:endParaRPr lang="en-IN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IN" sz="2800" dirty="0">
                <a:solidFill>
                  <a:schemeClr val="tx1"/>
                </a:solidFill>
              </a:rPr>
              <a:t>G. Kavya </a:t>
            </a:r>
            <a:r>
              <a:rPr lang="en-IN" sz="2800" dirty="0" smtClean="0">
                <a:solidFill>
                  <a:schemeClr val="tx1"/>
                </a:solidFill>
              </a:rPr>
              <a:t>Sri</a:t>
            </a:r>
          </a:p>
          <a:p>
            <a:pPr marL="0" indent="0">
              <a:buNone/>
            </a:pPr>
            <a:r>
              <a:rPr lang="en-IN" sz="2800" dirty="0" smtClean="0">
                <a:solidFill>
                  <a:schemeClr val="tx1"/>
                </a:solidFill>
              </a:rPr>
              <a:t>D. Jahanavi</a:t>
            </a:r>
          </a:p>
          <a:p>
            <a:pPr marL="0" indent="0">
              <a:buNone/>
            </a:pPr>
            <a:r>
              <a:rPr lang="en-IN" sz="2800" dirty="0" smtClean="0">
                <a:solidFill>
                  <a:schemeClr val="tx1"/>
                </a:solidFill>
              </a:rPr>
              <a:t>M. Pallavi</a:t>
            </a:r>
          </a:p>
          <a:p>
            <a:pPr marL="0" indent="0">
              <a:buNone/>
            </a:pPr>
            <a:r>
              <a:rPr lang="en-IN" sz="2800" dirty="0" smtClean="0">
                <a:solidFill>
                  <a:schemeClr val="tx1"/>
                </a:solidFill>
              </a:rPr>
              <a:t>Simran Malhotra</a:t>
            </a:r>
            <a:endParaRPr lang="en-IN" sz="2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Defect Summary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dirty="0"/>
              <a:t>The spelling of Login page in Home page wrongly </a:t>
            </a:r>
            <a:r>
              <a:rPr lang="en-US" b="0" dirty="0" err="1"/>
              <a:t>diplayed</a:t>
            </a:r>
            <a:r>
              <a:rPr lang="en-US" b="0" dirty="0"/>
              <a:t> as </a:t>
            </a:r>
            <a:r>
              <a:rPr lang="en-US" b="0" dirty="0" err="1"/>
              <a:t>Logn</a:t>
            </a:r>
            <a:r>
              <a:rPr lang="en-US" b="0" dirty="0"/>
              <a:t> page.</a:t>
            </a:r>
            <a:r>
              <a:rPr lang="en-US" dirty="0"/>
              <a:t> </a:t>
            </a:r>
            <a:endParaRPr lang="en-US" dirty="0" smtClean="0"/>
          </a:p>
          <a:p>
            <a:r>
              <a:rPr lang="en-US" b="0" dirty="0"/>
              <a:t>The </a:t>
            </a:r>
            <a:r>
              <a:rPr lang="en-US" b="0" dirty="0" smtClean="0"/>
              <a:t>name </a:t>
            </a:r>
            <a:r>
              <a:rPr lang="en-US" b="0" dirty="0"/>
              <a:t>field in the login page is found to accept special characters and digits.</a:t>
            </a:r>
            <a:r>
              <a:rPr lang="en-US" dirty="0"/>
              <a:t> </a:t>
            </a:r>
            <a:endParaRPr lang="en-US" dirty="0" smtClean="0"/>
          </a:p>
          <a:p>
            <a:r>
              <a:rPr lang="en-US" b="0" dirty="0"/>
              <a:t>The password field in the login page is found to accept more than 8 </a:t>
            </a:r>
            <a:r>
              <a:rPr lang="en-US" b="0" dirty="0" err="1"/>
              <a:t>characers</a:t>
            </a:r>
            <a:r>
              <a:rPr lang="en-US" b="0" dirty="0"/>
              <a:t>.</a:t>
            </a:r>
            <a:r>
              <a:rPr lang="en-US" dirty="0"/>
              <a:t> </a:t>
            </a:r>
            <a:endParaRPr lang="en-US" dirty="0" smtClean="0"/>
          </a:p>
          <a:p>
            <a:r>
              <a:rPr lang="en-US" b="0" dirty="0"/>
              <a:t>On clicking </a:t>
            </a:r>
            <a:r>
              <a:rPr lang="en-US" b="0" dirty="0" smtClean="0"/>
              <a:t>about </a:t>
            </a:r>
            <a:r>
              <a:rPr lang="en-US" b="0" dirty="0"/>
              <a:t>us link in web page, it is not redirecting to another page.</a:t>
            </a:r>
            <a:r>
              <a:rPr lang="en-US" dirty="0"/>
              <a:t> </a:t>
            </a:r>
            <a:endParaRPr lang="en-US" dirty="0" smtClean="0"/>
          </a:p>
          <a:p>
            <a:r>
              <a:rPr lang="en-US" b="0" dirty="0"/>
              <a:t>The asset quantity field  in the Raise a Request page is found to accept alphabets and special characters.</a:t>
            </a:r>
            <a:r>
              <a:rPr lang="en-US" dirty="0"/>
              <a:t> </a:t>
            </a:r>
            <a:endParaRPr lang="en-US" dirty="0" smtClean="0"/>
          </a:p>
          <a:p>
            <a:r>
              <a:rPr lang="en-US" b="0" dirty="0"/>
              <a:t>The asset description field  in the Raise a Request page is found to accept alphabets and special characters.</a:t>
            </a:r>
            <a:r>
              <a:rPr lang="en-US" dirty="0"/>
              <a:t> </a:t>
            </a:r>
            <a:endParaRPr lang="en-US" dirty="0" smtClean="0"/>
          </a:p>
          <a:p>
            <a:r>
              <a:rPr lang="en-US" b="0" dirty="0"/>
              <a:t>The Asset name field  in the add asset web page is found to accept special characters and digits.</a:t>
            </a:r>
            <a:r>
              <a:rPr lang="en-US" dirty="0"/>
              <a:t> </a:t>
            </a:r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590222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en asset description is entered in the add asset web </a:t>
            </a:r>
            <a:r>
              <a:rPr lang="en-US" dirty="0" err="1"/>
              <a:t>page,there</a:t>
            </a:r>
            <a:r>
              <a:rPr lang="en-US" dirty="0"/>
              <a:t> is no word limit set</a:t>
            </a:r>
            <a:r>
              <a:rPr lang="en-US" dirty="0" smtClean="0"/>
              <a:t>.</a:t>
            </a:r>
          </a:p>
          <a:p>
            <a:r>
              <a:rPr lang="en-US" dirty="0"/>
              <a:t>The asset quantity field  in the add asset page is found to accept alphabets and special characters.</a:t>
            </a:r>
            <a:endParaRPr lang="en-US" dirty="0" smtClean="0"/>
          </a:p>
          <a:p>
            <a:r>
              <a:rPr lang="en-US" dirty="0" smtClean="0"/>
              <a:t>The </a:t>
            </a:r>
            <a:r>
              <a:rPr lang="en-US" dirty="0"/>
              <a:t>asset id field  in the view status screen page is found to accept more than 4 characters.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92400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4800" y="228600"/>
            <a:ext cx="8229600" cy="4572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200" b="1" dirty="0" smtClean="0">
                <a:latin typeface="Bookman Old Style" panose="02050604050505020204" pitchFamily="18" charset="0"/>
                <a:cs typeface="Times New Roman" panose="02020603050405020304" pitchFamily="18" charset="0"/>
              </a:rPr>
              <a:t>Application link</a:t>
            </a:r>
            <a:endParaRPr lang="en-IN" sz="3200" b="1" dirty="0">
              <a:latin typeface="Bookman Old Style" panose="020506040505050202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23649" y="1090281"/>
            <a:ext cx="8305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u="sng" dirty="0">
                <a:hlinkClick r:id="rId2"/>
              </a:rPr>
              <a:t>http://ndafile:8081/AssetManagementSystem_Spring/index.html</a:t>
            </a:r>
            <a:endParaRPr lang="en-US" sz="24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100" y="1828799"/>
            <a:ext cx="8305800" cy="4191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544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dirty="0"/>
              <a:t/>
            </a:r>
            <a:br>
              <a:rPr lang="en-IN" dirty="0"/>
            </a:b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4800" y="228600"/>
            <a:ext cx="8229600" cy="4572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200" b="1" dirty="0" smtClean="0">
                <a:latin typeface="Bookman Old Style" panose="02050604050505020204" pitchFamily="18" charset="0"/>
                <a:cs typeface="Times New Roman" panose="02020603050405020304" pitchFamily="18" charset="0"/>
              </a:rPr>
              <a:t>Application link</a:t>
            </a:r>
            <a:endParaRPr lang="en-IN" sz="3200" b="1" dirty="0">
              <a:latin typeface="Bookman Old Style" panose="020506040505050202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3985486"/>
              </p:ext>
            </p:extLst>
          </p:nvPr>
        </p:nvGraphicFramePr>
        <p:xfrm>
          <a:off x="457200" y="1219200"/>
          <a:ext cx="8382000" cy="54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82000"/>
              </a:tblGrid>
              <a:tr h="548640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hlinkClick r:id="rId2" action="ppaction://hlinkfile"/>
                        </a:rPr>
                        <a:t>D:\Jahanavi.D\Mini Project\Asset Management System Project\Login1.html</a:t>
                      </a:r>
                      <a:endParaRPr lang="en-US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767840"/>
            <a:ext cx="8839200" cy="4500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81258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Adequacy 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</a:rPr>
              <a:t>This defines the number of actual test cases created vs estimated test cases at the end of test case preparation phase. It is calculated </a:t>
            </a:r>
            <a:r>
              <a:rPr lang="en-US" sz="2400" b="0" dirty="0" smtClean="0">
                <a:solidFill>
                  <a:schemeClr val="tx1"/>
                </a:solidFill>
              </a:rPr>
              <a:t>as</a:t>
            </a:r>
            <a:endParaRPr lang="en-US" sz="2400" dirty="0"/>
          </a:p>
          <a:p>
            <a:pPr marL="0" indent="0">
              <a:buNone/>
            </a:pPr>
            <a:r>
              <a:rPr lang="en-US" sz="2400" b="0" dirty="0"/>
              <a:t/>
            </a:r>
            <a:br>
              <a:rPr lang="en-US" sz="2400" b="0" dirty="0"/>
            </a:b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est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ase Adequacy = No. of  actual Test cases*100/No.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stimated Test cases estimated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	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=(</a:t>
            </a:r>
            <a:r>
              <a:rPr lang="en-US" sz="2400" b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0</a:t>
            </a:r>
            <a:r>
              <a:rPr lang="en-US" sz="2400" b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*100)/63</a:t>
            </a: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=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79.36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706512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Effectivenes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/>
          </a:bodyPr>
          <a:lstStyle/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his metrics defines the effectiveness of the test cases which is measured in terms of the number of defects found in testing with using the test cases.</a:t>
            </a:r>
          </a:p>
          <a:p>
            <a:pPr algn="l"/>
            <a:endParaRPr lang="en-US" sz="2400" b="0" dirty="0">
              <a:solidFill>
                <a:schemeClr val="tx1"/>
              </a:solidFill>
              <a:cs typeface="Times New Roman" pitchFamily="18" charset="0"/>
            </a:endParaRPr>
          </a:p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 Effectiveness =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No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. of defects detected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using 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s*100)/total no of defects detected in testing</a:t>
            </a:r>
          </a:p>
          <a:p>
            <a:pPr lvl="2" algn="l"/>
            <a:r>
              <a:rPr lang="en-US" sz="1800" dirty="0">
                <a:solidFill>
                  <a:schemeClr val="tx1"/>
                </a:solidFill>
              </a:rPr>
              <a:t>	</a:t>
            </a:r>
            <a:r>
              <a:rPr lang="en-US" sz="1800" dirty="0" smtClean="0">
                <a:solidFill>
                  <a:schemeClr val="tx1"/>
                </a:solidFill>
              </a:rPr>
              <a:t>=(10*100</a:t>
            </a:r>
            <a:r>
              <a:rPr lang="en-US" sz="1800" dirty="0" smtClean="0">
                <a:solidFill>
                  <a:schemeClr val="tx1"/>
                </a:solidFill>
              </a:rPr>
              <a:t>)/</a:t>
            </a:r>
            <a:r>
              <a:rPr lang="en-US" sz="1800" dirty="0" smtClean="0">
                <a:solidFill>
                  <a:schemeClr val="tx1"/>
                </a:solidFill>
              </a:rPr>
              <a:t>13</a:t>
            </a:r>
            <a:endParaRPr lang="en-US" sz="1800" dirty="0" smtClean="0">
              <a:solidFill>
                <a:schemeClr val="tx1"/>
              </a:solidFill>
            </a:endParaRPr>
          </a:p>
          <a:p>
            <a:pPr lvl="2" algn="l"/>
            <a:r>
              <a:rPr lang="en-US" sz="1800" b="0" dirty="0">
                <a:solidFill>
                  <a:schemeClr val="tx1"/>
                </a:solidFill>
              </a:rPr>
              <a:t>	</a:t>
            </a:r>
            <a:r>
              <a:rPr lang="en-US" sz="1800" b="0" dirty="0" smtClean="0">
                <a:solidFill>
                  <a:schemeClr val="tx1"/>
                </a:solidFill>
              </a:rPr>
              <a:t>=</a:t>
            </a:r>
            <a:r>
              <a:rPr lang="en-US" sz="1800" b="0" dirty="0" smtClean="0">
                <a:solidFill>
                  <a:schemeClr val="tx1"/>
                </a:solidFill>
              </a:rPr>
              <a:t>76.92</a:t>
            </a:r>
            <a:endParaRPr lang="en-US" sz="1800" b="0" dirty="0" smtClean="0">
              <a:solidFill>
                <a:schemeClr val="tx1"/>
              </a:solidFill>
            </a:endParaRPr>
          </a:p>
          <a:p>
            <a:pPr lvl="2" algn="l"/>
            <a:endParaRPr lang="en-US" sz="1800" dirty="0">
              <a:solidFill>
                <a:schemeClr val="tx1"/>
              </a:solidFill>
            </a:endParaRPr>
          </a:p>
          <a:p>
            <a:pPr lvl="2" algn="l"/>
            <a:r>
              <a:rPr lang="en-US" sz="1800" b="1" dirty="0" smtClean="0">
                <a:solidFill>
                  <a:schemeClr val="tx1"/>
                </a:solidFill>
                <a:hlinkClick r:id="rId2" action="ppaction://hlinkfile"/>
              </a:rPr>
              <a:t>LINK:TEST_CASE</a:t>
            </a:r>
            <a:endParaRPr lang="en-US" sz="1800" b="1" dirty="0" smtClean="0">
              <a:solidFill>
                <a:schemeClr val="tx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24692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762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Project Statistic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7782" y="1828800"/>
            <a:ext cx="82296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			=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0</a:t>
            </a: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Passed		=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</a:t>
            </a: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Failed		=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0</a:t>
            </a: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Defects Logged		= 10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of Use Cases			= 6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610436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aceability Matrix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1295400"/>
            <a:ext cx="8229600" cy="4953000"/>
          </a:xfrm>
        </p:spPr>
      </p:pic>
    </p:spTree>
    <p:extLst>
      <p:ext uri="{BB962C8B-B14F-4D97-AF65-F5344CB8AC3E}">
        <p14:creationId xmlns:p14="http://schemas.microsoft.com/office/powerpoint/2010/main" val="258965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676400" y="2362200"/>
            <a:ext cx="60198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800" dirty="0" smtClean="0">
                <a:ln>
                  <a:solidFill>
                    <a:schemeClr val="tx2">
                      <a:lumMod val="60000"/>
                      <a:lumOff val="40000"/>
                    </a:schemeClr>
                  </a:solidFill>
                </a:ln>
                <a:solidFill>
                  <a:schemeClr val="bg1"/>
                </a:solidFill>
                <a:effectLst>
                  <a:glow rad="139700">
                    <a:schemeClr val="accent1">
                      <a:satMod val="175000"/>
                      <a:alpha val="40000"/>
                    </a:schemeClr>
                  </a:glow>
                  <a:outerShdw blurRad="60007" dist="310007" dir="7680000" sy="30000" kx="1300200" algn="ctr" rotWithShape="0">
                    <a:prstClr val="black">
                      <a:alpha val="32000"/>
                    </a:prstClr>
                  </a:outerShdw>
                  <a:reflection blurRad="6350" stA="60000" endA="900" endPos="58000" dir="5400000" sy="-100000" algn="bl" rotWithShape="0"/>
                </a:effectLst>
                <a:latin typeface="Candara" panose="020E0502030303020204" pitchFamily="34" charset="0"/>
              </a:rPr>
              <a:t>THANK YOU</a:t>
            </a:r>
            <a:endParaRPr lang="en-US" sz="8800" dirty="0"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  <a:solidFill>
                <a:schemeClr val="bg1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  <a:outerShdw blurRad="60007" dist="310007" dir="7680000" sy="30000" kx="1300200" algn="ctr" rotWithShape="0">
                  <a:prstClr val="black">
                    <a:alpha val="32000"/>
                  </a:prstClr>
                </a:outerShdw>
                <a:reflection blurRad="6350" stA="60000" endA="900" endPos="58000" dir="5400000" sy="-100000" algn="bl" rotWithShape="0"/>
              </a:effectLst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Bar dir="vert"/>
      </p:transition>
    </mc:Choice>
    <mc:Fallback xmlns="">
      <p:transition spd="slow">
        <p:randomBar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ENTS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OVERVIEW 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CTOR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REQUIREMENT ITEMIZATION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USE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DEFECT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PPLICATION LINK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ADEQUACY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EFFECTIVENES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PROJECT STATISTIC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RACEABALITY MATRIX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 smtClean="0"/>
          </a:p>
          <a:p>
            <a:pPr lvl="1">
              <a:buFont typeface="Wingdings" panose="05000000000000000000" pitchFamily="2" charset="2"/>
              <a:buChar char="q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0672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351" y="68264"/>
            <a:ext cx="8229600" cy="792162"/>
          </a:xfrm>
        </p:spPr>
        <p:txBody>
          <a:bodyPr/>
          <a:lstStyle/>
          <a:p>
            <a:pPr algn="ctr"/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VERVIEW OF THE PROJECT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918" y="1447800"/>
            <a:ext cx="8229600" cy="452596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000" b="0" dirty="0" smtClean="0">
                <a:solidFill>
                  <a:schemeClr val="tx1"/>
                </a:solidFill>
              </a:rPr>
              <a:t>The website </a:t>
            </a:r>
            <a:r>
              <a:rPr lang="en-US" sz="2000" b="0" dirty="0">
                <a:solidFill>
                  <a:schemeClr val="tx1"/>
                </a:solidFill>
              </a:rPr>
              <a:t>is designed to accomplish the Asset Management System for an Organization. This is an Intranet based application that can be accessed throughout the organization. This system is used to raise a request for an asset and assign a asset to/from an employee. </a:t>
            </a:r>
            <a:r>
              <a:rPr lang="en-US" sz="2000" b="0" dirty="0" smtClean="0">
                <a:solidFill>
                  <a:schemeClr val="tx1"/>
                </a:solidFill>
              </a:rPr>
              <a:t>This helps serving our needs by </a:t>
            </a:r>
            <a:r>
              <a:rPr lang="en-US" sz="2000" b="0" dirty="0">
                <a:solidFill>
                  <a:schemeClr val="tx1"/>
                </a:solidFill>
              </a:rPr>
              <a:t>allocating assets</a:t>
            </a:r>
            <a:r>
              <a:rPr lang="en-US" sz="2000" b="0" dirty="0" smtClean="0">
                <a:solidFill>
                  <a:schemeClr val="tx1"/>
                </a:solidFill>
              </a:rPr>
              <a:t>. This website systematically processes asset requests, operating</a:t>
            </a:r>
            <a:r>
              <a:rPr lang="en-US" sz="2000" b="0" dirty="0">
                <a:solidFill>
                  <a:schemeClr val="tx1"/>
                </a:solidFill>
              </a:rPr>
              <a:t>, maintaining, upgrading, and disposing of assets </a:t>
            </a:r>
            <a:r>
              <a:rPr lang="en-US" sz="2000" b="0" dirty="0" smtClean="0">
                <a:solidFill>
                  <a:schemeClr val="tx1"/>
                </a:solidFill>
              </a:rPr>
              <a:t>effectively</a:t>
            </a:r>
            <a:r>
              <a:rPr lang="en-US" sz="2000" b="0" dirty="0">
                <a:solidFill>
                  <a:schemeClr val="tx1"/>
                </a:solidFill>
              </a:rPr>
              <a:t>.</a:t>
            </a:r>
            <a:endParaRPr lang="en-US" sz="20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CTORS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250000"/>
              </a:lnSpc>
            </a:pPr>
            <a:r>
              <a:rPr lang="en-US" sz="2400" b="0" dirty="0" smtClean="0">
                <a:solidFill>
                  <a:schemeClr val="tx1"/>
                </a:solidFill>
              </a:rPr>
              <a:t>Administrator</a:t>
            </a:r>
            <a:r>
              <a:rPr lang="en-US" sz="2400" b="0" dirty="0">
                <a:solidFill>
                  <a:schemeClr val="tx1"/>
                </a:solidFill>
              </a:rPr>
              <a:t>.</a:t>
            </a:r>
          </a:p>
          <a:p>
            <a:pPr>
              <a:lnSpc>
                <a:spcPct val="250000"/>
              </a:lnSpc>
            </a:pPr>
            <a:r>
              <a:rPr lang="en-US" sz="2400" b="0" dirty="0" smtClean="0">
                <a:solidFill>
                  <a:schemeClr val="tx1"/>
                </a:solidFill>
              </a:rPr>
              <a:t>Manager/User</a:t>
            </a:r>
            <a:endParaRPr lang="en-US" sz="2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>
                <a:solidFill>
                  <a:schemeClr val="tx1"/>
                </a:solidFill>
              </a:rPr>
              <a:t>A test case is a set of conditions or variables under which a tester will determine whether a system under test satisfies requirements or works correctl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e process of developing test cases can also help find problems in the requirements or design of an application.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8684" y="152400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41193" y="176773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3830" y="5559822"/>
            <a:ext cx="7772400" cy="840978"/>
          </a:xfrm>
        </p:spPr>
        <p:txBody>
          <a:bodyPr>
            <a:normAutofit/>
          </a:bodyPr>
          <a:lstStyle/>
          <a:p>
            <a:r>
              <a:rPr lang="en-US" sz="2800" dirty="0" smtClean="0"/>
              <a:t>Link : </a:t>
            </a:r>
            <a:r>
              <a:rPr lang="en-US" sz="2800" b="0" dirty="0" smtClean="0"/>
              <a:t>AMS TEST cASE</a:t>
            </a:r>
            <a:endParaRPr lang="en-US" sz="2800" b="0" dirty="0"/>
          </a:p>
        </p:txBody>
      </p:sp>
      <p:sp>
        <p:nvSpPr>
          <p:cNvPr id="10" name="Conten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 </a:t>
            </a:r>
            <a:endParaRPr lang="en-US" dirty="0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3074739136"/>
              </p:ext>
            </p:extLst>
          </p:nvPr>
        </p:nvGraphicFramePr>
        <p:xfrm>
          <a:off x="5005386" y="2276872"/>
          <a:ext cx="3681413" cy="36667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986212" y="1326759"/>
            <a:ext cx="1828800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dirty="0" smtClean="0"/>
              <a:t>LOGIN</a:t>
            </a:r>
            <a:endParaRPr lang="en-IN" dirty="0"/>
          </a:p>
        </p:txBody>
      </p:sp>
      <p:cxnSp>
        <p:nvCxnSpPr>
          <p:cNvPr id="13" name="Straight Arrow Connector 12"/>
          <p:cNvCxnSpPr/>
          <p:nvPr/>
        </p:nvCxnSpPr>
        <p:spPr>
          <a:xfrm flipH="1">
            <a:off x="2624138" y="1688148"/>
            <a:ext cx="2171700" cy="697468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12" idx="2"/>
            <a:endCxn id="11" idx="0"/>
          </p:cNvCxnSpPr>
          <p:nvPr/>
        </p:nvCxnSpPr>
        <p:spPr>
          <a:xfrm>
            <a:off x="4900612" y="1696091"/>
            <a:ext cx="1945480" cy="58078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3910700265"/>
              </p:ext>
            </p:extLst>
          </p:nvPr>
        </p:nvGraphicFramePr>
        <p:xfrm>
          <a:off x="1043609" y="2445189"/>
          <a:ext cx="3096344" cy="30465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324260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  ITEMIZATION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 smtClean="0">
                <a:solidFill>
                  <a:schemeClr val="tx1"/>
                </a:solidFill>
              </a:rPr>
              <a:t>Requirements </a:t>
            </a:r>
            <a:r>
              <a:rPr lang="en-US" sz="2400" b="0" dirty="0">
                <a:solidFill>
                  <a:schemeClr val="tx1"/>
                </a:solidFill>
              </a:rPr>
              <a:t>validation is an iterative process which takes place throughout the lifecycle of the project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During elicitation, analysis and specification you should constantly be questioning and clarifying the data given to you in order to check its validit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is will ensure that the SRS that you produce is complete, consistent </a:t>
            </a:r>
            <a:r>
              <a:rPr lang="en-US" sz="2400" b="0" dirty="0" smtClean="0">
                <a:solidFill>
                  <a:schemeClr val="tx1"/>
                </a:solidFill>
              </a:rPr>
              <a:t>and </a:t>
            </a:r>
            <a:r>
              <a:rPr lang="en-US" sz="2400" b="0" dirty="0">
                <a:solidFill>
                  <a:schemeClr val="tx1"/>
                </a:solidFill>
              </a:rPr>
              <a:t>ready for the formal validation proces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endParaRPr lang="en-US" sz="2400" b="0" dirty="0" smtClean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  <a:latin typeface="Bookman Old Style" panose="02050604050505020204" pitchFamily="18" charset="0"/>
              </a:rPr>
              <a:t>LINK: </a:t>
            </a:r>
            <a:r>
              <a:rPr lang="en-US" sz="2400" b="0" dirty="0" smtClean="0">
                <a:solidFill>
                  <a:schemeClr val="tx1"/>
                </a:solidFill>
                <a:latin typeface="Bookman Old Style" panose="02050604050505020204" pitchFamily="18" charset="0"/>
                <a:hlinkClick r:id="rId2" action="ppaction://hlinkfile"/>
              </a:rPr>
              <a:t>AMS RVFD</a:t>
            </a:r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15355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638948" y="362977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s Validation And Functional Decomposition</a:t>
            </a:r>
            <a:endParaRPr lang="en-IN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869207828"/>
              </p:ext>
            </p:extLst>
          </p:nvPr>
        </p:nvGraphicFramePr>
        <p:xfrm>
          <a:off x="4648200" y="1066799"/>
          <a:ext cx="1905000" cy="12458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431537518"/>
              </p:ext>
            </p:extLst>
          </p:nvPr>
        </p:nvGraphicFramePr>
        <p:xfrm>
          <a:off x="762000" y="4953000"/>
          <a:ext cx="2209800" cy="152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552712535"/>
              </p:ext>
            </p:extLst>
          </p:nvPr>
        </p:nvGraphicFramePr>
        <p:xfrm>
          <a:off x="3581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416433548"/>
              </p:ext>
            </p:extLst>
          </p:nvPr>
        </p:nvGraphicFramePr>
        <p:xfrm>
          <a:off x="304800" y="35211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3249288730"/>
              </p:ext>
            </p:extLst>
          </p:nvPr>
        </p:nvGraphicFramePr>
        <p:xfrm>
          <a:off x="3048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444857622"/>
              </p:ext>
            </p:extLst>
          </p:nvPr>
        </p:nvGraphicFramePr>
        <p:xfrm>
          <a:off x="2400300" y="1066800"/>
          <a:ext cx="1905000" cy="106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684257087"/>
              </p:ext>
            </p:extLst>
          </p:nvPr>
        </p:nvGraphicFramePr>
        <p:xfrm>
          <a:off x="68580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3619113940"/>
              </p:ext>
            </p:extLst>
          </p:nvPr>
        </p:nvGraphicFramePr>
        <p:xfrm>
          <a:off x="6858000" y="3439235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" r:lo="rId39" r:qs="rId40" r:cs="rId41"/>
          </a:graphicData>
        </a:graphic>
      </p:graphicFrame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2164186853"/>
              </p:ext>
            </p:extLst>
          </p:nvPr>
        </p:nvGraphicFramePr>
        <p:xfrm>
          <a:off x="6248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3" r:lo="rId44" r:qs="rId45" r:cs="rId46"/>
          </a:graphicData>
        </a:graphic>
      </p:graphicFrame>
      <p:sp>
        <p:nvSpPr>
          <p:cNvPr id="14" name="Oval 13"/>
          <p:cNvSpPr/>
          <p:nvPr/>
        </p:nvSpPr>
        <p:spPr>
          <a:xfrm>
            <a:off x="3599597" y="2655058"/>
            <a:ext cx="1447800" cy="152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VFD</a:t>
            </a:r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4518334" y="2017594"/>
            <a:ext cx="240469" cy="7415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V="1">
            <a:off x="4933097" y="2523220"/>
            <a:ext cx="1313597" cy="4909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4" idx="6"/>
          </p:cNvCxnSpPr>
          <p:nvPr/>
        </p:nvCxnSpPr>
        <p:spPr>
          <a:xfrm>
            <a:off x="5047397" y="3417058"/>
            <a:ext cx="1714500" cy="1040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4938073" y="3796442"/>
            <a:ext cx="1310327" cy="10200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stCxn id="14" idx="4"/>
          </p:cNvCxnSpPr>
          <p:nvPr/>
        </p:nvCxnSpPr>
        <p:spPr>
          <a:xfrm>
            <a:off x="4323497" y="4179058"/>
            <a:ext cx="0" cy="9263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 flipH="1">
            <a:off x="2684380" y="4023815"/>
            <a:ext cx="1184441" cy="10184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 flipH="1">
            <a:off x="2271109" y="3521122"/>
            <a:ext cx="1310291" cy="2753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 flipV="1">
            <a:off x="2400301" y="2655059"/>
            <a:ext cx="1266398" cy="4334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 flipH="1" flipV="1">
            <a:off x="3647650" y="2178808"/>
            <a:ext cx="372753" cy="537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70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11</TotalTime>
  <Words>1001</Words>
  <Application>Microsoft Office PowerPoint</Application>
  <PresentationFormat>On-screen Show (4:3)</PresentationFormat>
  <Paragraphs>156</Paragraphs>
  <Slides>28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8</vt:i4>
      </vt:variant>
    </vt:vector>
  </HeadingPairs>
  <TitlesOfParts>
    <vt:vector size="40" baseType="lpstr">
      <vt:lpstr>ＭＳ Ｐゴシック</vt:lpstr>
      <vt:lpstr>Arial</vt:lpstr>
      <vt:lpstr>Bookman Old Style</vt:lpstr>
      <vt:lpstr>Calibri</vt:lpstr>
      <vt:lpstr>Candara</vt:lpstr>
      <vt:lpstr>Century Gothic</vt:lpstr>
      <vt:lpstr>Courier New</vt:lpstr>
      <vt:lpstr>Palatino Linotype</vt:lpstr>
      <vt:lpstr>Times New Roman</vt:lpstr>
      <vt:lpstr>Wingdings</vt:lpstr>
      <vt:lpstr>Executive</vt:lpstr>
      <vt:lpstr>Office Theme</vt:lpstr>
      <vt:lpstr>PowerPoint Presentation</vt:lpstr>
      <vt:lpstr>TEAM MEMBERS</vt:lpstr>
      <vt:lpstr>CONTENTS</vt:lpstr>
      <vt:lpstr>OVERVIEW OF THE PROJECT</vt:lpstr>
      <vt:lpstr>ACTORS</vt:lpstr>
      <vt:lpstr>PowerPoint Presentation</vt:lpstr>
      <vt:lpstr>Link : AMS TEST cASE</vt:lpstr>
      <vt:lpstr>REQUIREMENT  ITEMIZATION</vt:lpstr>
      <vt:lpstr>PowerPoint Presentation</vt:lpstr>
      <vt:lpstr>USE CASES</vt:lpstr>
      <vt:lpstr>USE CASES</vt:lpstr>
      <vt:lpstr>USE CASE DIAGRAM</vt:lpstr>
      <vt:lpstr>USE CASE DIAGRAM</vt:lpstr>
      <vt:lpstr>USE CASE DIAGRAM</vt:lpstr>
      <vt:lpstr>USE CASE DIAGRAM</vt:lpstr>
      <vt:lpstr>USE CASE DIAGRAM</vt:lpstr>
      <vt:lpstr>DFDR</vt:lpstr>
      <vt:lpstr>DEFECTS FOUND</vt:lpstr>
      <vt:lpstr>DEFECTS FOUND</vt:lpstr>
      <vt:lpstr>Defect Summary</vt:lpstr>
      <vt:lpstr>PowerPoint Presentation</vt:lpstr>
      <vt:lpstr>PowerPoint Presentation</vt:lpstr>
      <vt:lpstr> </vt:lpstr>
      <vt:lpstr>Test Case Adequacy </vt:lpstr>
      <vt:lpstr>Test Case Effectiveness</vt:lpstr>
      <vt:lpstr>Project Statistics</vt:lpstr>
      <vt:lpstr>Traceability Matrix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DADI, JAHANAVI</cp:lastModifiedBy>
  <cp:revision>204</cp:revision>
  <dcterms:created xsi:type="dcterms:W3CDTF">2015-08-27T08:52:20Z</dcterms:created>
  <dcterms:modified xsi:type="dcterms:W3CDTF">2018-07-23T05:45:46Z</dcterms:modified>
</cp:coreProperties>
</file>